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</p:sldMasterIdLst>
  <p:notesMasterIdLst>
    <p:notesMasterId r:id="rId19"/>
  </p:notesMasterIdLst>
  <p:sldIdLst>
    <p:sldId id="305" r:id="rId2"/>
    <p:sldId id="364" r:id="rId3"/>
    <p:sldId id="337" r:id="rId4"/>
    <p:sldId id="317" r:id="rId5"/>
    <p:sldId id="351" r:id="rId6"/>
    <p:sldId id="368" r:id="rId7"/>
    <p:sldId id="347" r:id="rId8"/>
    <p:sldId id="363" r:id="rId9"/>
    <p:sldId id="360" r:id="rId10"/>
    <p:sldId id="361" r:id="rId11"/>
    <p:sldId id="362" r:id="rId12"/>
    <p:sldId id="352" r:id="rId13"/>
    <p:sldId id="353" r:id="rId14"/>
    <p:sldId id="354" r:id="rId15"/>
    <p:sldId id="356" r:id="rId16"/>
    <p:sldId id="357" r:id="rId17"/>
    <p:sldId id="358" r:id="rId18"/>
  </p:sldIdLst>
  <p:sldSz cx="9144000" cy="6858000" type="screen4x3"/>
  <p:notesSz cx="6858000" cy="9144000"/>
  <p:embeddedFontLst>
    <p:embeddedFont>
      <p:font typeface="ＭＳ Ｐゴシック" panose="020B0600070205080204" pitchFamily="34" charset="-128"/>
      <p:regular r:id="rId20"/>
    </p:embeddedFont>
    <p:embeddedFont>
      <p:font typeface="Calibri" panose="020F0502020204030204" pitchFamily="34" charset="0"/>
      <p:regular r:id="rId21"/>
      <p:bold r:id="rId22"/>
      <p:italic r:id="rId23"/>
      <p:boldItalic r:id="rId24"/>
    </p:embeddedFont>
    <p:embeddedFont>
      <p:font typeface="Candara" panose="020E0502030303020204" pitchFamily="34" charset="0"/>
      <p:regular r:id="rId25"/>
      <p:bold r:id="rId26"/>
      <p:italic r:id="rId27"/>
      <p:boldItalic r:id="rId28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4200">
          <p15:clr>
            <a:srgbClr val="A4A3A4"/>
          </p15:clr>
        </p15:guide>
      </p15:sldGuideLst>
    </p:ext>
    <p:ext uri="http://customooxmlschemas.google.com/">
      <go:slidesCustomData xmlns:go="http://customooxmlschemas.google.com/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52" roundtripDataSignature="AMtx7miKv4bI0SdCXtg1KIn6IjkCUY55gQ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8CBC963-ED33-40BB-8870-63DD57A3E1D8}">
  <a:tblStyle styleId="{18CBC963-ED33-40BB-8870-63DD57A3E1D8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57" d="100"/>
          <a:sy n="57" d="100"/>
        </p:scale>
        <p:origin x="956" y="36"/>
      </p:cViewPr>
      <p:guideLst>
        <p:guide orient="horz" pos="2880"/>
        <p:guide pos="420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7.fntdata"/><Relationship Id="rId3" Type="http://schemas.openxmlformats.org/officeDocument/2006/relationships/slide" Target="slides/slide2.xml"/><Relationship Id="rId21" Type="http://schemas.openxmlformats.org/officeDocument/2006/relationships/font" Target="fonts/font2.fntdata"/><Relationship Id="rId55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6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1.fntdata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5.fntdata"/><Relationship Id="rId53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4.fntdata"/><Relationship Id="rId28" Type="http://schemas.openxmlformats.org/officeDocument/2006/relationships/font" Target="fonts/font9.fntdata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52" Type="http://customschemas.google.com/relationships/presentationmetadata" Target="meta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3.fntdata"/><Relationship Id="rId27" Type="http://schemas.openxmlformats.org/officeDocument/2006/relationships/font" Target="fonts/font8.fntdata"/><Relationship Id="rId56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9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5010" y="0"/>
            <a:ext cx="2971800" cy="459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1371600" y="1143000"/>
            <a:ext cx="41148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2"/>
            <a:ext cx="5486400" cy="36004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4685"/>
            <a:ext cx="2971800" cy="4593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5010" y="8684685"/>
            <a:ext cx="2971800" cy="4593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57058" indent="-291177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64705" indent="-232941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30587" indent="-232941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96468" indent="-232941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62351" indent="-23294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3028232" indent="-23294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94115" indent="-23294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959996" indent="-232941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4B49F9AF-C08D-9640-A595-23E5CFC7B933}" type="slidenum">
              <a:rPr lang="en-US">
                <a:latin typeface="Calibri" charset="0"/>
              </a:rPr>
              <a:pPr eaLnBrk="1" hangingPunct="1"/>
              <a:t>1</a:t>
            </a:fld>
            <a:endParaRPr lang="en-US">
              <a:latin typeface="Calibri" charset="0"/>
            </a:endParaRPr>
          </a:p>
        </p:txBody>
      </p:sp>
      <p:sp>
        <p:nvSpPr>
          <p:cNvPr id="122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59217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>
  <p:cSld name="Title Slide"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45"/>
          <p:cNvSpPr txBox="1"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" name="Google Shape;73;p45"/>
          <p:cNvSpPr txBox="1">
            <a:spLocks noGrp="1"/>
          </p:cNvSpPr>
          <p:nvPr>
            <p:ph type="subTitle" idx="1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" name="Google Shape;74;p45"/>
          <p:cNvSpPr txBox="1">
            <a:spLocks noGrp="1"/>
          </p:cNvSpPr>
          <p:nvPr>
            <p:ph type="ftr" idx="11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" name="Google Shape;75;p45"/>
          <p:cNvSpPr txBox="1">
            <a:spLocks noGrp="1"/>
          </p:cNvSpPr>
          <p:nvPr>
            <p:ph type="dt" idx="10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6" name="Google Shape;76;p45"/>
          <p:cNvSpPr txBox="1">
            <a:spLocks noGrp="1"/>
          </p:cNvSpPr>
          <p:nvPr>
            <p:ph type="sldNum" idx="12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Google Shape;78;p46"/>
          <p:cNvSpPr txBox="1">
            <a:spLocks noGrp="1"/>
          </p:cNvSpPr>
          <p:nvPr>
            <p:ph type="title"/>
          </p:nvPr>
        </p:nvSpPr>
        <p:spPr>
          <a:xfrm>
            <a:off x="588060" y="210438"/>
            <a:ext cx="7967878" cy="6311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000" b="1" i="0">
                <a:solidFill>
                  <a:srgbClr val="0099D7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" name="Google Shape;79;p46"/>
          <p:cNvSpPr txBox="1">
            <a:spLocks noGrp="1"/>
          </p:cNvSpPr>
          <p:nvPr>
            <p:ph type="body" idx="1"/>
          </p:nvPr>
        </p:nvSpPr>
        <p:spPr>
          <a:xfrm>
            <a:off x="457200" y="1577340"/>
            <a:ext cx="3977640" cy="4526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46"/>
          <p:cNvSpPr txBox="1">
            <a:spLocks noGrp="1"/>
          </p:cNvSpPr>
          <p:nvPr>
            <p:ph type="body" idx="2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" name="Google Shape;81;p46"/>
          <p:cNvSpPr txBox="1">
            <a:spLocks noGrp="1"/>
          </p:cNvSpPr>
          <p:nvPr>
            <p:ph type="ftr" idx="11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6"/>
          <p:cNvSpPr txBox="1">
            <a:spLocks noGrp="1"/>
          </p:cNvSpPr>
          <p:nvPr>
            <p:ph type="dt" idx="10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3" name="Google Shape;83;p46"/>
          <p:cNvSpPr txBox="1">
            <a:spLocks noGrp="1"/>
          </p:cNvSpPr>
          <p:nvPr>
            <p:ph type="sldNum" idx="12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47"/>
          <p:cNvSpPr txBox="1">
            <a:spLocks noGrp="1"/>
          </p:cNvSpPr>
          <p:nvPr>
            <p:ph type="ftr" idx="11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888888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" name="Google Shape;86;p47"/>
          <p:cNvSpPr txBox="1">
            <a:spLocks noGrp="1"/>
          </p:cNvSpPr>
          <p:nvPr>
            <p:ph type="dt" idx="10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7" name="Google Shape;87;p47"/>
          <p:cNvSpPr txBox="1">
            <a:spLocks noGrp="1"/>
          </p:cNvSpPr>
          <p:nvPr>
            <p:ph type="sldNum" idx="12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2E9C84-E806-4BCB-9177-5DCB69DAE732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27766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71600" y="304800"/>
            <a:ext cx="6418263" cy="8985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371600"/>
            <a:ext cx="8229600" cy="4908550"/>
          </a:xfrm>
        </p:spPr>
        <p:txBody>
          <a:bodyPr/>
          <a:lstStyle/>
          <a:p>
            <a:pPr lvl="0"/>
            <a:r>
              <a:rPr lang="en-US" noProof="0"/>
              <a:t>Click icon to add table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8C4640-110B-43E6-89F7-017480D31C02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57299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1173C9-74C8-4E36-8E24-2763E0DABE74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194313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5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A76296-2E82-471D-A613-C7194FAED18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1" i="0" baseline="0" dirty="0" err="1">
              <a:solidFill>
                <a:schemeClr val="tx1"/>
              </a:solidFill>
              <a:latin typeface="Candara" panose="020E0502030303020204" pitchFamily="34" charset="0"/>
              <a:ea typeface="+mj-ea"/>
              <a:cs typeface="+mj-cs"/>
              <a:sym typeface="Candara" panose="020E0502030303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auto">
          <a:xfrm>
            <a:off x="513085" y="234864"/>
            <a:ext cx="7538715" cy="31402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x-none" dirty="0"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x-none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1189856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8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7.png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Relationship Id="rId14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36"/>
          <p:cNvSpPr/>
          <p:nvPr/>
        </p:nvSpPr>
        <p:spPr>
          <a:xfrm>
            <a:off x="0" y="0"/>
            <a:ext cx="416559" cy="6400800"/>
          </a:xfrm>
          <a:custGeom>
            <a:avLst/>
            <a:gdLst/>
            <a:ahLst/>
            <a:cxnLst/>
            <a:rect l="l" t="t" r="r" b="b"/>
            <a:pathLst>
              <a:path w="416559" h="6400800" extrusionOk="0">
                <a:moveTo>
                  <a:pt x="0" y="6400799"/>
                </a:moveTo>
                <a:lnTo>
                  <a:pt x="416052" y="6400799"/>
                </a:lnTo>
                <a:lnTo>
                  <a:pt x="416052" y="0"/>
                </a:lnTo>
                <a:lnTo>
                  <a:pt x="0" y="0"/>
                </a:lnTo>
                <a:lnTo>
                  <a:pt x="0" y="6400799"/>
                </a:lnTo>
                <a:close/>
              </a:path>
            </a:pathLst>
          </a:custGeom>
          <a:solidFill>
            <a:srgbClr val="0099D7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Google Shape;11;p36"/>
          <p:cNvSpPr/>
          <p:nvPr/>
        </p:nvSpPr>
        <p:spPr>
          <a:xfrm>
            <a:off x="1523" y="3197351"/>
            <a:ext cx="410209" cy="1069975"/>
          </a:xfrm>
          <a:custGeom>
            <a:avLst/>
            <a:gdLst/>
            <a:ahLst/>
            <a:cxnLst/>
            <a:rect l="l" t="t" r="r" b="b"/>
            <a:pathLst>
              <a:path w="410209" h="1069975" extrusionOk="0">
                <a:moveTo>
                  <a:pt x="0" y="1069848"/>
                </a:moveTo>
                <a:lnTo>
                  <a:pt x="409956" y="1069848"/>
                </a:lnTo>
                <a:lnTo>
                  <a:pt x="409956" y="0"/>
                </a:lnTo>
                <a:lnTo>
                  <a:pt x="0" y="0"/>
                </a:lnTo>
                <a:lnTo>
                  <a:pt x="0" y="1069848"/>
                </a:lnTo>
                <a:close/>
              </a:path>
            </a:pathLst>
          </a:custGeom>
          <a:solidFill>
            <a:srgbClr val="0A4595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" name="Google Shape;12;p36"/>
          <p:cNvSpPr/>
          <p:nvPr/>
        </p:nvSpPr>
        <p:spPr>
          <a:xfrm>
            <a:off x="0" y="5715000"/>
            <a:ext cx="441960" cy="324612"/>
          </a:xfrm>
          <a:prstGeom prst="rect">
            <a:avLst/>
          </a:prstGeom>
          <a:blipFill rotWithShape="1">
            <a:blip r:embed="rId9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" name="Google Shape;13;p36"/>
          <p:cNvSpPr/>
          <p:nvPr/>
        </p:nvSpPr>
        <p:spPr>
          <a:xfrm>
            <a:off x="0" y="4648200"/>
            <a:ext cx="441960" cy="324612"/>
          </a:xfrm>
          <a:prstGeom prst="rect">
            <a:avLst/>
          </a:prstGeom>
          <a:blipFill rotWithShape="1">
            <a:blip r:embed="rId10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" name="Google Shape;14;p36"/>
          <p:cNvSpPr/>
          <p:nvPr/>
        </p:nvSpPr>
        <p:spPr>
          <a:xfrm>
            <a:off x="0" y="3581400"/>
            <a:ext cx="441960" cy="324612"/>
          </a:xfrm>
          <a:prstGeom prst="rect">
            <a:avLst/>
          </a:prstGeom>
          <a:blipFill rotWithShape="1">
            <a:blip r:embed="rId11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" name="Google Shape;15;p36"/>
          <p:cNvSpPr/>
          <p:nvPr/>
        </p:nvSpPr>
        <p:spPr>
          <a:xfrm>
            <a:off x="0" y="2514600"/>
            <a:ext cx="441960" cy="324612"/>
          </a:xfrm>
          <a:prstGeom prst="rect">
            <a:avLst/>
          </a:prstGeom>
          <a:blipFill rotWithShape="1">
            <a:blip r:embed="rId1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" name="Google Shape;16;p36"/>
          <p:cNvSpPr/>
          <p:nvPr/>
        </p:nvSpPr>
        <p:spPr>
          <a:xfrm>
            <a:off x="0" y="1447800"/>
            <a:ext cx="441960" cy="324612"/>
          </a:xfrm>
          <a:prstGeom prst="rect">
            <a:avLst/>
          </a:prstGeom>
          <a:blipFill rotWithShape="1">
            <a:blip r:embed="rId1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" name="Google Shape;17;p36"/>
          <p:cNvSpPr/>
          <p:nvPr/>
        </p:nvSpPr>
        <p:spPr>
          <a:xfrm>
            <a:off x="0" y="381000"/>
            <a:ext cx="441960" cy="324612"/>
          </a:xfrm>
          <a:prstGeom prst="rect">
            <a:avLst/>
          </a:prstGeom>
          <a:blipFill rotWithShape="1">
            <a:blip r:embed="rId14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" name="Google Shape;18;p36"/>
          <p:cNvSpPr/>
          <p:nvPr/>
        </p:nvSpPr>
        <p:spPr>
          <a:xfrm>
            <a:off x="0" y="4267200"/>
            <a:ext cx="421005" cy="0"/>
          </a:xfrm>
          <a:custGeom>
            <a:avLst/>
            <a:gdLst/>
            <a:ahLst/>
            <a:cxnLst/>
            <a:rect l="l" t="t" r="r" b="b"/>
            <a:pathLst>
              <a:path w="421005" h="120000" extrusionOk="0">
                <a:moveTo>
                  <a:pt x="0" y="0"/>
                </a:moveTo>
                <a:lnTo>
                  <a:pt x="420623" y="0"/>
                </a:lnTo>
              </a:path>
            </a:pathLst>
          </a:custGeom>
          <a:noFill/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" name="Google Shape;19;p36"/>
          <p:cNvSpPr/>
          <p:nvPr/>
        </p:nvSpPr>
        <p:spPr>
          <a:xfrm>
            <a:off x="0" y="3200400"/>
            <a:ext cx="421005" cy="0"/>
          </a:xfrm>
          <a:custGeom>
            <a:avLst/>
            <a:gdLst/>
            <a:ahLst/>
            <a:cxnLst/>
            <a:rect l="l" t="t" r="r" b="b"/>
            <a:pathLst>
              <a:path w="421005" h="120000" extrusionOk="0">
                <a:moveTo>
                  <a:pt x="0" y="0"/>
                </a:moveTo>
                <a:lnTo>
                  <a:pt x="420623" y="0"/>
                </a:lnTo>
              </a:path>
            </a:pathLst>
          </a:custGeom>
          <a:noFill/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" name="Google Shape;20;p36"/>
          <p:cNvSpPr/>
          <p:nvPr/>
        </p:nvSpPr>
        <p:spPr>
          <a:xfrm>
            <a:off x="0" y="2133600"/>
            <a:ext cx="421005" cy="0"/>
          </a:xfrm>
          <a:custGeom>
            <a:avLst/>
            <a:gdLst/>
            <a:ahLst/>
            <a:cxnLst/>
            <a:rect l="l" t="t" r="r" b="b"/>
            <a:pathLst>
              <a:path w="421005" h="120000" extrusionOk="0">
                <a:moveTo>
                  <a:pt x="0" y="0"/>
                </a:moveTo>
                <a:lnTo>
                  <a:pt x="420623" y="0"/>
                </a:lnTo>
              </a:path>
            </a:pathLst>
          </a:custGeom>
          <a:noFill/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" name="Google Shape;21;p36"/>
          <p:cNvSpPr/>
          <p:nvPr/>
        </p:nvSpPr>
        <p:spPr>
          <a:xfrm>
            <a:off x="0" y="5334000"/>
            <a:ext cx="421005" cy="0"/>
          </a:xfrm>
          <a:custGeom>
            <a:avLst/>
            <a:gdLst/>
            <a:ahLst/>
            <a:cxnLst/>
            <a:rect l="l" t="t" r="r" b="b"/>
            <a:pathLst>
              <a:path w="421005" h="120000" extrusionOk="0">
                <a:moveTo>
                  <a:pt x="0" y="0"/>
                </a:moveTo>
                <a:lnTo>
                  <a:pt x="420623" y="0"/>
                </a:lnTo>
              </a:path>
            </a:pathLst>
          </a:custGeom>
          <a:noFill/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" name="Google Shape;22;p36"/>
          <p:cNvSpPr/>
          <p:nvPr/>
        </p:nvSpPr>
        <p:spPr>
          <a:xfrm>
            <a:off x="0" y="1066800"/>
            <a:ext cx="421005" cy="0"/>
          </a:xfrm>
          <a:custGeom>
            <a:avLst/>
            <a:gdLst/>
            <a:ahLst/>
            <a:cxnLst/>
            <a:rect l="l" t="t" r="r" b="b"/>
            <a:pathLst>
              <a:path w="421005" h="120000" extrusionOk="0">
                <a:moveTo>
                  <a:pt x="0" y="0"/>
                </a:moveTo>
                <a:lnTo>
                  <a:pt x="420623" y="0"/>
                </a:lnTo>
              </a:path>
            </a:pathLst>
          </a:custGeom>
          <a:noFill/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" name="Google Shape;23;p36"/>
          <p:cNvSpPr/>
          <p:nvPr/>
        </p:nvSpPr>
        <p:spPr>
          <a:xfrm>
            <a:off x="0" y="6398513"/>
            <a:ext cx="421005" cy="0"/>
          </a:xfrm>
          <a:custGeom>
            <a:avLst/>
            <a:gdLst/>
            <a:ahLst/>
            <a:cxnLst/>
            <a:rect l="l" t="t" r="r" b="b"/>
            <a:pathLst>
              <a:path w="421005" h="120000" extrusionOk="0">
                <a:moveTo>
                  <a:pt x="0" y="0"/>
                </a:moveTo>
                <a:lnTo>
                  <a:pt x="420623" y="0"/>
                </a:lnTo>
              </a:path>
            </a:pathLst>
          </a:custGeom>
          <a:noFill/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" name="Google Shape;24;p36"/>
          <p:cNvSpPr/>
          <p:nvPr/>
        </p:nvSpPr>
        <p:spPr>
          <a:xfrm>
            <a:off x="416051" y="0"/>
            <a:ext cx="0" cy="6400800"/>
          </a:xfrm>
          <a:custGeom>
            <a:avLst/>
            <a:gdLst/>
            <a:ahLst/>
            <a:cxnLst/>
            <a:rect l="l" t="t" r="r" b="b"/>
            <a:pathLst>
              <a:path w="120000" h="6400800" extrusionOk="0">
                <a:moveTo>
                  <a:pt x="0" y="0"/>
                </a:moveTo>
                <a:lnTo>
                  <a:pt x="0" y="6400799"/>
                </a:lnTo>
              </a:path>
            </a:pathLst>
          </a:custGeom>
          <a:noFill/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" name="Google Shape;25;p36"/>
          <p:cNvSpPr/>
          <p:nvPr/>
        </p:nvSpPr>
        <p:spPr>
          <a:xfrm>
            <a:off x="0" y="6400799"/>
            <a:ext cx="9144000" cy="457200"/>
          </a:xfrm>
          <a:custGeom>
            <a:avLst/>
            <a:gdLst/>
            <a:ahLst/>
            <a:cxnLst/>
            <a:rect l="l" t="t" r="r" b="b"/>
            <a:pathLst>
              <a:path w="9144000" h="457200" extrusionOk="0">
                <a:moveTo>
                  <a:pt x="0" y="457199"/>
                </a:moveTo>
                <a:lnTo>
                  <a:pt x="9144000" y="457199"/>
                </a:lnTo>
                <a:lnTo>
                  <a:pt x="9144000" y="0"/>
                </a:lnTo>
                <a:lnTo>
                  <a:pt x="0" y="0"/>
                </a:lnTo>
                <a:lnTo>
                  <a:pt x="0" y="457199"/>
                </a:lnTo>
                <a:close/>
              </a:path>
            </a:pathLst>
          </a:custGeom>
          <a:solidFill>
            <a:srgbClr val="D5F5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" name="Google Shape;26;p36"/>
          <p:cNvSpPr/>
          <p:nvPr/>
        </p:nvSpPr>
        <p:spPr>
          <a:xfrm>
            <a:off x="30202" y="6452326"/>
            <a:ext cx="371856" cy="371856"/>
          </a:xfrm>
          <a:prstGeom prst="rect">
            <a:avLst/>
          </a:prstGeom>
          <a:blipFill rotWithShape="1">
            <a:blip r:embed="rId15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" name="Google Shape;27;p36"/>
          <p:cNvSpPr/>
          <p:nvPr/>
        </p:nvSpPr>
        <p:spPr>
          <a:xfrm>
            <a:off x="465860" y="6458422"/>
            <a:ext cx="359664" cy="359664"/>
          </a:xfrm>
          <a:prstGeom prst="rect">
            <a:avLst/>
          </a:prstGeom>
          <a:blipFill rotWithShape="1">
            <a:blip r:embed="rId16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" name="Google Shape;28;p36"/>
          <p:cNvSpPr txBox="1">
            <a:spLocks noGrp="1"/>
          </p:cNvSpPr>
          <p:nvPr>
            <p:ph type="title"/>
          </p:nvPr>
        </p:nvSpPr>
        <p:spPr>
          <a:xfrm>
            <a:off x="588060" y="210438"/>
            <a:ext cx="7967878" cy="6311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2000" b="1" i="0" u="none" strike="noStrike" cap="none">
                <a:solidFill>
                  <a:srgbClr val="0099D7"/>
                </a:solidFill>
                <a:latin typeface="Candara"/>
                <a:ea typeface="Candara"/>
                <a:cs typeface="Candara"/>
                <a:sym typeface="Candar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9" name="Google Shape;29;p36"/>
          <p:cNvSpPr txBox="1">
            <a:spLocks noGrp="1"/>
          </p:cNvSpPr>
          <p:nvPr>
            <p:ph type="body" idx="1"/>
          </p:nvPr>
        </p:nvSpPr>
        <p:spPr>
          <a:xfrm>
            <a:off x="457200" y="1577340"/>
            <a:ext cx="8229600" cy="45262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0" name="Google Shape;30;p36"/>
          <p:cNvSpPr txBox="1">
            <a:spLocks noGrp="1"/>
          </p:cNvSpPr>
          <p:nvPr>
            <p:ph type="ftr" idx="11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1" name="Google Shape;31;p36"/>
          <p:cNvSpPr txBox="1">
            <a:spLocks noGrp="1"/>
          </p:cNvSpPr>
          <p:nvPr>
            <p:ph type="sldNum" idx="12"/>
          </p:nvPr>
        </p:nvSpPr>
        <p:spPr>
          <a:xfrm>
            <a:off x="6583680" y="6377940"/>
            <a:ext cx="210312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  <p:sldLayoutId id="2147483656" r:id="rId4"/>
    <p:sldLayoutId id="2147483657" r:id="rId5"/>
    <p:sldLayoutId id="2147483661" r:id="rId6"/>
    <p:sldLayoutId id="2147483662" r:id="rId7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8" descr="Titl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2727" y="4702044"/>
            <a:ext cx="6486525" cy="165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1066798" y="249630"/>
            <a:ext cx="7010401" cy="657990"/>
          </a:xfrm>
          <a:prstGeom prst="rect">
            <a:avLst/>
          </a:prstGeom>
        </p:spPr>
        <p:txBody>
          <a:bodyPr anchor="ctr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2800" b="1" dirty="0">
                <a:latin typeface="+mj-lt"/>
              </a:rPr>
              <a:t>ASPEN: Advanced Systems Performance Evaluation tool for NOAA</a:t>
            </a:r>
            <a:endParaRPr lang="en-US" sz="2800" b="1" i="1" dirty="0">
              <a:latin typeface="+mj-lt"/>
            </a:endParaRPr>
          </a:p>
        </p:txBody>
      </p:sp>
      <p:pic>
        <p:nvPicPr>
          <p:cNvPr id="2054" name="Picture 15" descr="Untitled-3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35" b="29720"/>
          <a:stretch>
            <a:fillRect/>
          </a:stretch>
        </p:blipFill>
        <p:spPr bwMode="auto">
          <a:xfrm>
            <a:off x="76200" y="2561070"/>
            <a:ext cx="3733800" cy="426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F8A04A-CF59-874D-864B-C5A8856AF9D5}" type="slidenum">
              <a:rPr lang="en-US" smtClean="0"/>
              <a:pPr/>
              <a:t>1</a:t>
            </a:fld>
            <a:endParaRPr lang="en-US" dirty="0"/>
          </a:p>
        </p:txBody>
      </p:sp>
      <p:pic>
        <p:nvPicPr>
          <p:cNvPr id="3074" name="Picture 2" descr="https://cimss.ssec.wisc.edu/satmet/img/common/GOES-R2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31239" y="1910486"/>
            <a:ext cx="1530096" cy="1683106"/>
          </a:xfrm>
          <a:prstGeom prst="rect">
            <a:avLst/>
          </a:prstGeom>
          <a:noFill/>
        </p:spPr>
      </p:pic>
      <p:pic>
        <p:nvPicPr>
          <p:cNvPr id="3076" name="Picture 4" descr="http://www.nesdis.noaa.gov/images/new_bottom/jpss_pop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861335" y="2982931"/>
            <a:ext cx="1426175" cy="2072411"/>
          </a:xfrm>
          <a:prstGeom prst="rect">
            <a:avLst/>
          </a:prstGeom>
          <a:noFill/>
        </p:spPr>
      </p:pic>
      <p:sp>
        <p:nvSpPr>
          <p:cNvPr id="2" name="Rectangle 1"/>
          <p:cNvSpPr/>
          <p:nvPr/>
        </p:nvSpPr>
        <p:spPr>
          <a:xfrm>
            <a:off x="3097161" y="1558204"/>
            <a:ext cx="615007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b="1" dirty="0"/>
              <a:t>Presentation for SAT</a:t>
            </a:r>
          </a:p>
          <a:p>
            <a:r>
              <a:rPr lang="en-US" sz="1800" b="1" dirty="0"/>
              <a:t>Stacy Bunin, </a:t>
            </a:r>
            <a:r>
              <a:rPr lang="en-US" sz="1800" b="1" dirty="0" err="1">
                <a:solidFill>
                  <a:schemeClr val="bg2">
                    <a:lumMod val="25000"/>
                  </a:schemeClr>
                </a:solidFill>
              </a:rPr>
              <a:t>RTi</a:t>
            </a:r>
            <a:r>
              <a:rPr lang="en-US" sz="1800" b="1" dirty="0">
                <a:solidFill>
                  <a:schemeClr val="bg2">
                    <a:lumMod val="25000"/>
                  </a:schemeClr>
                </a:solidFill>
              </a:rPr>
              <a:t> and NOAA/STAR</a:t>
            </a:r>
          </a:p>
          <a:p>
            <a:r>
              <a:rPr lang="en-US" sz="1800" b="1" dirty="0">
                <a:solidFill>
                  <a:schemeClr val="bg2">
                    <a:lumMod val="25000"/>
                  </a:schemeClr>
                </a:solidFill>
              </a:rPr>
              <a:t>April 12, 2021</a:t>
            </a:r>
            <a:endParaRPr lang="en-US" sz="1200" dirty="0">
              <a:solidFill>
                <a:schemeClr val="bg2">
                  <a:lumMod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5154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Sensor/Constellation-based Performances (SCP) Tab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02E9C84-E806-4BCB-9177-5DCB69DAE732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10</a:t>
            </a:fld>
            <a:endParaRPr lang="en-US">
              <a:solidFill>
                <a:srgbClr val="FFFFFF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1098950"/>
              </p:ext>
            </p:extLst>
          </p:nvPr>
        </p:nvGraphicFramePr>
        <p:xfrm>
          <a:off x="588052" y="841629"/>
          <a:ext cx="8357643" cy="5125439"/>
        </p:xfrm>
        <a:graphic>
          <a:graphicData uri="http://schemas.openxmlformats.org/drawingml/2006/table">
            <a:tbl>
              <a:tblPr/>
              <a:tblGrid>
                <a:gridCol w="439876">
                  <a:extLst>
                    <a:ext uri="{9D8B030D-6E8A-4147-A177-3AD203B41FA5}">
                      <a16:colId xmlns:a16="http://schemas.microsoft.com/office/drawing/2014/main" val="2513518310"/>
                    </a:ext>
                  </a:extLst>
                </a:gridCol>
                <a:gridCol w="879751">
                  <a:extLst>
                    <a:ext uri="{9D8B030D-6E8A-4147-A177-3AD203B41FA5}">
                      <a16:colId xmlns:a16="http://schemas.microsoft.com/office/drawing/2014/main" val="1470922805"/>
                    </a:ext>
                  </a:extLst>
                </a:gridCol>
                <a:gridCol w="439876">
                  <a:extLst>
                    <a:ext uri="{9D8B030D-6E8A-4147-A177-3AD203B41FA5}">
                      <a16:colId xmlns:a16="http://schemas.microsoft.com/office/drawing/2014/main" val="827732402"/>
                    </a:ext>
                  </a:extLst>
                </a:gridCol>
                <a:gridCol w="439876">
                  <a:extLst>
                    <a:ext uri="{9D8B030D-6E8A-4147-A177-3AD203B41FA5}">
                      <a16:colId xmlns:a16="http://schemas.microsoft.com/office/drawing/2014/main" val="857010462"/>
                    </a:ext>
                  </a:extLst>
                </a:gridCol>
                <a:gridCol w="439876">
                  <a:extLst>
                    <a:ext uri="{9D8B030D-6E8A-4147-A177-3AD203B41FA5}">
                      <a16:colId xmlns:a16="http://schemas.microsoft.com/office/drawing/2014/main" val="3834586091"/>
                    </a:ext>
                  </a:extLst>
                </a:gridCol>
                <a:gridCol w="439876">
                  <a:extLst>
                    <a:ext uri="{9D8B030D-6E8A-4147-A177-3AD203B41FA5}">
                      <a16:colId xmlns:a16="http://schemas.microsoft.com/office/drawing/2014/main" val="2125244714"/>
                    </a:ext>
                  </a:extLst>
                </a:gridCol>
                <a:gridCol w="439876">
                  <a:extLst>
                    <a:ext uri="{9D8B030D-6E8A-4147-A177-3AD203B41FA5}">
                      <a16:colId xmlns:a16="http://schemas.microsoft.com/office/drawing/2014/main" val="3534424931"/>
                    </a:ext>
                  </a:extLst>
                </a:gridCol>
                <a:gridCol w="439876">
                  <a:extLst>
                    <a:ext uri="{9D8B030D-6E8A-4147-A177-3AD203B41FA5}">
                      <a16:colId xmlns:a16="http://schemas.microsoft.com/office/drawing/2014/main" val="2728244666"/>
                    </a:ext>
                  </a:extLst>
                </a:gridCol>
                <a:gridCol w="439876">
                  <a:extLst>
                    <a:ext uri="{9D8B030D-6E8A-4147-A177-3AD203B41FA5}">
                      <a16:colId xmlns:a16="http://schemas.microsoft.com/office/drawing/2014/main" val="2934128522"/>
                    </a:ext>
                  </a:extLst>
                </a:gridCol>
                <a:gridCol w="439876">
                  <a:extLst>
                    <a:ext uri="{9D8B030D-6E8A-4147-A177-3AD203B41FA5}">
                      <a16:colId xmlns:a16="http://schemas.microsoft.com/office/drawing/2014/main" val="3044733145"/>
                    </a:ext>
                  </a:extLst>
                </a:gridCol>
                <a:gridCol w="439876">
                  <a:extLst>
                    <a:ext uri="{9D8B030D-6E8A-4147-A177-3AD203B41FA5}">
                      <a16:colId xmlns:a16="http://schemas.microsoft.com/office/drawing/2014/main" val="2670614175"/>
                    </a:ext>
                  </a:extLst>
                </a:gridCol>
                <a:gridCol w="439876">
                  <a:extLst>
                    <a:ext uri="{9D8B030D-6E8A-4147-A177-3AD203B41FA5}">
                      <a16:colId xmlns:a16="http://schemas.microsoft.com/office/drawing/2014/main" val="3824943187"/>
                    </a:ext>
                  </a:extLst>
                </a:gridCol>
                <a:gridCol w="439876">
                  <a:extLst>
                    <a:ext uri="{9D8B030D-6E8A-4147-A177-3AD203B41FA5}">
                      <a16:colId xmlns:a16="http://schemas.microsoft.com/office/drawing/2014/main" val="2360294644"/>
                    </a:ext>
                  </a:extLst>
                </a:gridCol>
                <a:gridCol w="439876">
                  <a:extLst>
                    <a:ext uri="{9D8B030D-6E8A-4147-A177-3AD203B41FA5}">
                      <a16:colId xmlns:a16="http://schemas.microsoft.com/office/drawing/2014/main" val="3908924658"/>
                    </a:ext>
                  </a:extLst>
                </a:gridCol>
                <a:gridCol w="439876">
                  <a:extLst>
                    <a:ext uri="{9D8B030D-6E8A-4147-A177-3AD203B41FA5}">
                      <a16:colId xmlns:a16="http://schemas.microsoft.com/office/drawing/2014/main" val="736679328"/>
                    </a:ext>
                  </a:extLst>
                </a:gridCol>
                <a:gridCol w="439876">
                  <a:extLst>
                    <a:ext uri="{9D8B030D-6E8A-4147-A177-3AD203B41FA5}">
                      <a16:colId xmlns:a16="http://schemas.microsoft.com/office/drawing/2014/main" val="3836348356"/>
                    </a:ext>
                  </a:extLst>
                </a:gridCol>
                <a:gridCol w="439876">
                  <a:extLst>
                    <a:ext uri="{9D8B030D-6E8A-4147-A177-3AD203B41FA5}">
                      <a16:colId xmlns:a16="http://schemas.microsoft.com/office/drawing/2014/main" val="3296706221"/>
                    </a:ext>
                  </a:extLst>
                </a:gridCol>
                <a:gridCol w="439876">
                  <a:extLst>
                    <a:ext uri="{9D8B030D-6E8A-4147-A177-3AD203B41FA5}">
                      <a16:colId xmlns:a16="http://schemas.microsoft.com/office/drawing/2014/main" val="1968319370"/>
                    </a:ext>
                  </a:extLst>
                </a:gridCol>
              </a:tblGrid>
              <a:tr h="52021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1">
                          <a:effectLst/>
                        </a:rPr>
                        <a:t>Table Name: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1">
                          <a:effectLst/>
                        </a:rPr>
                        <a:t>SCP_ATMS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US" sz="700">
                        <a:effectLst/>
                      </a:endParaRP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1" dirty="0">
                          <a:effectLst/>
                        </a:rPr>
                        <a:t>Attribute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dirty="0">
                          <a:effectLst/>
                        </a:rPr>
                        <a:t>Images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dirty="0">
                          <a:effectLst/>
                        </a:rPr>
                        <a:t>Geographic Coverage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dirty="0">
                          <a:effectLst/>
                        </a:rPr>
                        <a:t>Horizontal Density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dirty="0">
                          <a:effectLst/>
                        </a:rPr>
                        <a:t>Horizontal Resolution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dirty="0">
                          <a:effectLst/>
                        </a:rPr>
                        <a:t>Temporal Refresh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dirty="0">
                          <a:effectLst/>
                        </a:rPr>
                        <a:t>Vertical Extent Bottom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dirty="0">
                          <a:effectLst/>
                        </a:rPr>
                        <a:t>Vertical Extent Top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dirty="0">
                          <a:effectLst/>
                        </a:rPr>
                        <a:t>Vertical Resolution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dirty="0">
                          <a:effectLst/>
                        </a:rPr>
                        <a:t>Accuracy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dirty="0">
                          <a:effectLst/>
                        </a:rPr>
                        <a:t>Validity Range Low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dirty="0">
                          <a:effectLst/>
                        </a:rPr>
                        <a:t>Validity Range High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dirty="0">
                          <a:effectLst/>
                        </a:rPr>
                        <a:t>Robustness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Continuity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Data Latency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0587637"/>
                  </a:ext>
                </a:extLst>
              </a:tr>
              <a:tr h="26762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>
                          <a:effectLst/>
                        </a:rPr>
                        <a:t>POC: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>
                          <a:effectLst/>
                        </a:rPr>
                        <a:t>Ross.N.Hoffman@NOAA.gov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US" sz="700">
                        <a:effectLst/>
                      </a:endParaRP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1">
                          <a:effectLst/>
                        </a:rPr>
                        <a:t>Symbol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I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D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N_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delta_x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T_R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E_b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E_t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N_v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V_l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V_h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dirty="0">
                          <a:effectLst/>
                        </a:rPr>
                        <a:t>N_S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dirty="0">
                          <a:effectLst/>
                        </a:rPr>
                        <a:t>T_C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T_L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5398218"/>
                  </a:ext>
                </a:extLst>
              </a:tr>
              <a:tr h="26762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>
                          <a:effectLst/>
                        </a:rPr>
                        <a:t>Version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>
                          <a:effectLst/>
                        </a:rPr>
                        <a:t>Nov 2020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US" sz="700">
                        <a:effectLst/>
                      </a:endParaRP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1">
                          <a:effectLst/>
                        </a:rPr>
                        <a:t>Units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logical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dimensionless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(100 km)-2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km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s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km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km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d.o.f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Units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Units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Units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dimensionless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dirty="0">
                          <a:effectLst/>
                        </a:rPr>
                        <a:t>s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dirty="0">
                          <a:effectLst/>
                        </a:rPr>
                        <a:t>s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7462904"/>
                  </a:ext>
                </a:extLst>
              </a:tr>
              <a:tr h="64651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dirty="0">
                          <a:effectLst/>
                        </a:rPr>
                        <a:t>Environmental Domain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dirty="0">
                          <a:effectLst/>
                        </a:rPr>
                        <a:t>Geophysical Variable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dirty="0">
                          <a:effectLst/>
                        </a:rPr>
                        <a:t>Symbol/Abbreviation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dirty="0">
                          <a:effectLst/>
                        </a:rPr>
                        <a:t>Units (Accuracy)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US" sz="700">
                        <a:effectLst/>
                      </a:endParaRP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US" sz="700">
                        <a:effectLst/>
                      </a:endParaRP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US" sz="700">
                        <a:effectLst/>
                      </a:endParaRP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US" sz="700">
                        <a:effectLst/>
                      </a:endParaRP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US" sz="700">
                        <a:effectLst/>
                      </a:endParaRP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US" sz="700">
                        <a:effectLst/>
                      </a:endParaRP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US" sz="700">
                        <a:effectLst/>
                      </a:endParaRP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US" sz="700">
                        <a:effectLst/>
                      </a:endParaRP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US" sz="700">
                        <a:effectLst/>
                      </a:endParaRP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US" sz="700">
                        <a:effectLst/>
                      </a:endParaRP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US" sz="700">
                        <a:effectLst/>
                      </a:endParaRP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US" sz="700">
                        <a:effectLst/>
                      </a:endParaRP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US" sz="700">
                        <a:effectLst/>
                      </a:endParaRP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US" sz="700">
                        <a:effectLst/>
                      </a:endParaRP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B7B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6958279"/>
                  </a:ext>
                </a:extLst>
              </a:tr>
              <a:tr h="26762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dirty="0">
                          <a:effectLst/>
                        </a:rPr>
                        <a:t>Atmosphere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dirty="0">
                          <a:solidFill>
                            <a:srgbClr val="000000"/>
                          </a:solidFill>
                          <a:effectLst/>
                        </a:rPr>
                        <a:t>Relative Humidity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>
                          <a:effectLst/>
                          <a:latin typeface="Calibri" panose="020F0502020204030204" pitchFamily="34" charset="0"/>
                        </a:rPr>
                        <a:t>RH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0"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UE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lobal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200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0720000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00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9611073"/>
                  </a:ext>
                </a:extLst>
              </a:tr>
              <a:tr h="39392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>
                          <a:effectLst/>
                        </a:rPr>
                        <a:t>Atmosphere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dirty="0">
                          <a:effectLst/>
                        </a:rPr>
                        <a:t>Wind Speed Profile: Eastward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dirty="0">
                          <a:effectLst/>
                        </a:rPr>
                        <a:t>u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dirty="0">
                          <a:effectLst/>
                        </a:rPr>
                        <a:t>m/s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079697"/>
                  </a:ext>
                </a:extLst>
              </a:tr>
              <a:tr h="39392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>
                          <a:effectLst/>
                        </a:rPr>
                        <a:t>Atmosphere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>
                          <a:effectLst/>
                        </a:rPr>
                        <a:t>Wind Speed Profile: Northward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>
                          <a:effectLst/>
                        </a:rPr>
                        <a:t>v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>
                          <a:effectLst/>
                        </a:rPr>
                        <a:t>m/s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4189738"/>
                  </a:ext>
                </a:extLst>
              </a:tr>
              <a:tr h="26762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>
                          <a:effectLst/>
                        </a:rPr>
                        <a:t>Atmosphere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>
                          <a:effectLst/>
                        </a:rPr>
                        <a:t>Aerosol Concentration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>
                          <a:effectLst/>
                        </a:rPr>
                        <a:t>n_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>
                          <a:effectLst/>
                        </a:rPr>
                        <a:t>/m3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21385404"/>
                  </a:ext>
                </a:extLst>
              </a:tr>
              <a:tr h="26762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>
                          <a:effectLst/>
                        </a:rPr>
                        <a:t>Atmosphere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>
                          <a:effectLst/>
                        </a:rPr>
                        <a:t>Cloud Cover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>
                          <a:effectLst/>
                        </a:rPr>
                        <a:t>CC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>
                          <a:effectLst/>
                        </a:rPr>
                        <a:t>Fraction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7009498"/>
                  </a:ext>
                </a:extLst>
              </a:tr>
              <a:tr h="26762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>
                          <a:effectLst/>
                        </a:rPr>
                        <a:t>Atmosphere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i="0">
                          <a:effectLst/>
                          <a:latin typeface="Arial" panose="020B0604020202020204" pitchFamily="34" charset="0"/>
                        </a:rPr>
                        <a:t>Ozone Concentration </a:t>
                      </a:r>
                      <a:r>
                        <a:rPr lang="en-US" sz="700" i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Column)</a:t>
                      </a:r>
                      <a:endParaRPr lang="en-US" sz="900">
                        <a:effectLst/>
                      </a:endParaRP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>
                          <a:effectLst/>
                        </a:rPr>
                        <a:t>O_3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>
                          <a:effectLst/>
                        </a:rPr>
                        <a:t>DU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4308489"/>
                  </a:ext>
                </a:extLst>
              </a:tr>
              <a:tr h="39392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>
                          <a:effectLst/>
                        </a:rPr>
                        <a:t>Atmosphere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>
                          <a:effectLst/>
                        </a:rPr>
                        <a:t>Cloud and Moisture Imagery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>
                          <a:effectLst/>
                        </a:rPr>
                        <a:t>CMI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>
                          <a:effectLst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2785960"/>
                  </a:ext>
                </a:extLst>
              </a:tr>
              <a:tr h="52021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>
                          <a:effectLst/>
                        </a:rPr>
                        <a:t>Atmosphere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>
                          <a:effectLst/>
                        </a:rPr>
                        <a:t>Incoming Shortwave Radiation: Surface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>
                          <a:effectLst/>
                        </a:rPr>
                        <a:t>ISR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>
                          <a:effectLst/>
                        </a:rPr>
                        <a:t>W/m2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753033"/>
                  </a:ext>
                </a:extLst>
              </a:tr>
              <a:tr h="39392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>
                          <a:effectLst/>
                        </a:rPr>
                        <a:t>Atmosphere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>
                          <a:effectLst/>
                        </a:rPr>
                        <a:t>Air Temperature: Profiles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>
                          <a:effectLst/>
                        </a:rPr>
                        <a:t>T_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>
                          <a:effectLst/>
                        </a:rPr>
                        <a:t>K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UE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lobal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200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0720000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00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75494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509341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mple Application-dependent Requirements Ranges (ARR) Tab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02E9C84-E806-4BCB-9177-5DCB69DAE732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11</a:t>
            </a:fld>
            <a:endParaRPr lang="en-US">
              <a:solidFill>
                <a:srgbClr val="FFFFFF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6543632"/>
              </p:ext>
            </p:extLst>
          </p:nvPr>
        </p:nvGraphicFramePr>
        <p:xfrm>
          <a:off x="588050" y="683049"/>
          <a:ext cx="8098749" cy="5685670"/>
        </p:xfrm>
        <a:graphic>
          <a:graphicData uri="http://schemas.openxmlformats.org/drawingml/2006/table">
            <a:tbl>
              <a:tblPr/>
              <a:tblGrid>
                <a:gridCol w="426250">
                  <a:extLst>
                    <a:ext uri="{9D8B030D-6E8A-4147-A177-3AD203B41FA5}">
                      <a16:colId xmlns:a16="http://schemas.microsoft.com/office/drawing/2014/main" val="4101935236"/>
                    </a:ext>
                  </a:extLst>
                </a:gridCol>
                <a:gridCol w="852499">
                  <a:extLst>
                    <a:ext uri="{9D8B030D-6E8A-4147-A177-3AD203B41FA5}">
                      <a16:colId xmlns:a16="http://schemas.microsoft.com/office/drawing/2014/main" val="743479884"/>
                    </a:ext>
                  </a:extLst>
                </a:gridCol>
                <a:gridCol w="426250">
                  <a:extLst>
                    <a:ext uri="{9D8B030D-6E8A-4147-A177-3AD203B41FA5}">
                      <a16:colId xmlns:a16="http://schemas.microsoft.com/office/drawing/2014/main" val="3060224753"/>
                    </a:ext>
                  </a:extLst>
                </a:gridCol>
                <a:gridCol w="426250">
                  <a:extLst>
                    <a:ext uri="{9D8B030D-6E8A-4147-A177-3AD203B41FA5}">
                      <a16:colId xmlns:a16="http://schemas.microsoft.com/office/drawing/2014/main" val="849753924"/>
                    </a:ext>
                  </a:extLst>
                </a:gridCol>
                <a:gridCol w="426250">
                  <a:extLst>
                    <a:ext uri="{9D8B030D-6E8A-4147-A177-3AD203B41FA5}">
                      <a16:colId xmlns:a16="http://schemas.microsoft.com/office/drawing/2014/main" val="4286512480"/>
                    </a:ext>
                  </a:extLst>
                </a:gridCol>
                <a:gridCol w="426250">
                  <a:extLst>
                    <a:ext uri="{9D8B030D-6E8A-4147-A177-3AD203B41FA5}">
                      <a16:colId xmlns:a16="http://schemas.microsoft.com/office/drawing/2014/main" val="1829967270"/>
                    </a:ext>
                  </a:extLst>
                </a:gridCol>
                <a:gridCol w="426250">
                  <a:extLst>
                    <a:ext uri="{9D8B030D-6E8A-4147-A177-3AD203B41FA5}">
                      <a16:colId xmlns:a16="http://schemas.microsoft.com/office/drawing/2014/main" val="2949454483"/>
                    </a:ext>
                  </a:extLst>
                </a:gridCol>
                <a:gridCol w="426250">
                  <a:extLst>
                    <a:ext uri="{9D8B030D-6E8A-4147-A177-3AD203B41FA5}">
                      <a16:colId xmlns:a16="http://schemas.microsoft.com/office/drawing/2014/main" val="3409825963"/>
                    </a:ext>
                  </a:extLst>
                </a:gridCol>
                <a:gridCol w="426250">
                  <a:extLst>
                    <a:ext uri="{9D8B030D-6E8A-4147-A177-3AD203B41FA5}">
                      <a16:colId xmlns:a16="http://schemas.microsoft.com/office/drawing/2014/main" val="126623351"/>
                    </a:ext>
                  </a:extLst>
                </a:gridCol>
                <a:gridCol w="426250">
                  <a:extLst>
                    <a:ext uri="{9D8B030D-6E8A-4147-A177-3AD203B41FA5}">
                      <a16:colId xmlns:a16="http://schemas.microsoft.com/office/drawing/2014/main" val="841825513"/>
                    </a:ext>
                  </a:extLst>
                </a:gridCol>
                <a:gridCol w="426250">
                  <a:extLst>
                    <a:ext uri="{9D8B030D-6E8A-4147-A177-3AD203B41FA5}">
                      <a16:colId xmlns:a16="http://schemas.microsoft.com/office/drawing/2014/main" val="1547895162"/>
                    </a:ext>
                  </a:extLst>
                </a:gridCol>
                <a:gridCol w="426250">
                  <a:extLst>
                    <a:ext uri="{9D8B030D-6E8A-4147-A177-3AD203B41FA5}">
                      <a16:colId xmlns:a16="http://schemas.microsoft.com/office/drawing/2014/main" val="3407369149"/>
                    </a:ext>
                  </a:extLst>
                </a:gridCol>
                <a:gridCol w="426250">
                  <a:extLst>
                    <a:ext uri="{9D8B030D-6E8A-4147-A177-3AD203B41FA5}">
                      <a16:colId xmlns:a16="http://schemas.microsoft.com/office/drawing/2014/main" val="918533816"/>
                    </a:ext>
                  </a:extLst>
                </a:gridCol>
                <a:gridCol w="426250">
                  <a:extLst>
                    <a:ext uri="{9D8B030D-6E8A-4147-A177-3AD203B41FA5}">
                      <a16:colId xmlns:a16="http://schemas.microsoft.com/office/drawing/2014/main" val="3122145927"/>
                    </a:ext>
                  </a:extLst>
                </a:gridCol>
                <a:gridCol w="426250">
                  <a:extLst>
                    <a:ext uri="{9D8B030D-6E8A-4147-A177-3AD203B41FA5}">
                      <a16:colId xmlns:a16="http://schemas.microsoft.com/office/drawing/2014/main" val="981193450"/>
                    </a:ext>
                  </a:extLst>
                </a:gridCol>
                <a:gridCol w="426250">
                  <a:extLst>
                    <a:ext uri="{9D8B030D-6E8A-4147-A177-3AD203B41FA5}">
                      <a16:colId xmlns:a16="http://schemas.microsoft.com/office/drawing/2014/main" val="2218889646"/>
                    </a:ext>
                  </a:extLst>
                </a:gridCol>
                <a:gridCol w="426250">
                  <a:extLst>
                    <a:ext uri="{9D8B030D-6E8A-4147-A177-3AD203B41FA5}">
                      <a16:colId xmlns:a16="http://schemas.microsoft.com/office/drawing/2014/main" val="358763038"/>
                    </a:ext>
                  </a:extLst>
                </a:gridCol>
                <a:gridCol w="426250">
                  <a:extLst>
                    <a:ext uri="{9D8B030D-6E8A-4147-A177-3AD203B41FA5}">
                      <a16:colId xmlns:a16="http://schemas.microsoft.com/office/drawing/2014/main" val="3696137086"/>
                    </a:ext>
                  </a:extLst>
                </a:gridCol>
              </a:tblGrid>
              <a:tr h="53307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1">
                          <a:effectLst/>
                        </a:rPr>
                        <a:t>Table Name: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 b="1">
                          <a:effectLst/>
                        </a:rPr>
                        <a:t>ARR Global NWP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US" sz="700">
                        <a:effectLst/>
                      </a:endParaRP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dirty="0">
                          <a:effectLst/>
                        </a:rPr>
                        <a:t>Attribute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dirty="0">
                          <a:effectLst/>
                        </a:rPr>
                        <a:t>Images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dirty="0">
                          <a:effectLst/>
                        </a:rPr>
                        <a:t>Geographic Coverage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Horizontal Density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Horizontal Resolution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Temporal Refresh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Vertical Extent Bottom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Vertical Extent Top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Vertical Resolution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Accuracy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Validity Range Low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Validity Range High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Robustness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Continuity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Data Latency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0153363"/>
                  </a:ext>
                </a:extLst>
              </a:tr>
              <a:tr h="27424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>
                          <a:effectLst/>
                        </a:rPr>
                        <a:t>POC: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>
                          <a:effectLst/>
                        </a:rPr>
                        <a:t>Ross.N.Hoffman@NOAA.gov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US" sz="700">
                        <a:effectLst/>
                      </a:endParaRP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>
                          <a:effectLst/>
                        </a:rPr>
                        <a:t>Symbol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I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dirty="0">
                          <a:effectLst/>
                        </a:rPr>
                        <a:t>D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dirty="0">
                          <a:effectLst/>
                        </a:rPr>
                        <a:t>N_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delta_x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dirty="0">
                          <a:effectLst/>
                        </a:rPr>
                        <a:t>T_R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E_b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E_t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N_v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V_l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V_h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N_S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T_C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T_L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5503288"/>
                  </a:ext>
                </a:extLst>
              </a:tr>
              <a:tr h="27424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>
                          <a:effectLst/>
                        </a:rPr>
                        <a:t>Version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700">
                          <a:effectLst/>
                        </a:rPr>
                        <a:t>Jan2021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US" sz="700">
                        <a:effectLst/>
                      </a:endParaRP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>
                          <a:effectLst/>
                        </a:rPr>
                        <a:t>Units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logical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dimensionless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(100 km)-2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km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>
                          <a:effectLst/>
                        </a:rPr>
                        <a:t>s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dirty="0">
                          <a:effectLst/>
                        </a:rPr>
                        <a:t>km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dirty="0">
                          <a:effectLst/>
                        </a:rPr>
                        <a:t>km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dirty="0" err="1">
                          <a:effectLst/>
                        </a:rPr>
                        <a:t>d.o.f</a:t>
                      </a:r>
                      <a:endParaRPr lang="en-US" sz="800" dirty="0">
                        <a:effectLst/>
                      </a:endParaRP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dirty="0">
                          <a:effectLst/>
                        </a:rPr>
                        <a:t>Units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dirty="0">
                          <a:effectLst/>
                        </a:rPr>
                        <a:t>Units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dirty="0">
                          <a:effectLst/>
                        </a:rPr>
                        <a:t>Units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dirty="0">
                          <a:effectLst/>
                        </a:rPr>
                        <a:t>dimensionless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dirty="0">
                          <a:effectLst/>
                        </a:rPr>
                        <a:t>s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dirty="0">
                          <a:effectLst/>
                        </a:rPr>
                        <a:t>s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DAF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6932658"/>
                  </a:ext>
                </a:extLst>
              </a:tr>
              <a:tr h="66248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dirty="0">
                          <a:effectLst/>
                        </a:rPr>
                        <a:t>Environmental Domain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dirty="0">
                          <a:effectLst/>
                        </a:rPr>
                        <a:t>Geophysical Variable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dirty="0">
                          <a:effectLst/>
                        </a:rPr>
                        <a:t>Symbol/Abbreviation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b="1" dirty="0">
                          <a:effectLst/>
                        </a:rPr>
                        <a:t>Units (Accuracy)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US" sz="700">
                        <a:effectLst/>
                      </a:endParaRP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US" sz="700">
                        <a:effectLst/>
                      </a:endParaRP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US" sz="700">
                        <a:effectLst/>
                      </a:endParaRP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US" sz="700">
                        <a:effectLst/>
                      </a:endParaRP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US" sz="700">
                        <a:effectLst/>
                      </a:endParaRP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US" sz="700">
                        <a:effectLst/>
                      </a:endParaRP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US" sz="700">
                        <a:effectLst/>
                      </a:endParaRP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US" sz="700">
                        <a:effectLst/>
                      </a:endParaRP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US" sz="700">
                        <a:effectLst/>
                      </a:endParaRP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US" sz="700">
                        <a:effectLst/>
                      </a:endParaRP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US" sz="700">
                        <a:effectLst/>
                      </a:endParaRP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US" sz="700">
                        <a:effectLst/>
                      </a:endParaRP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US" sz="700">
                        <a:effectLst/>
                      </a:endParaRP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B7B7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ctr"/>
                      <a:endParaRPr lang="en-US" sz="700">
                        <a:effectLst/>
                      </a:endParaRP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B7B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03439337"/>
                  </a:ext>
                </a:extLst>
              </a:tr>
              <a:tr h="27424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dirty="0">
                          <a:effectLst/>
                        </a:rPr>
                        <a:t>Atmosphere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</a:rPr>
                        <a:t>Relative Humidity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H</a:t>
                      </a:r>
                    </a:p>
                  </a:txBody>
                  <a:tcPr marL="9698" marR="9698" marT="6466" marB="6466" anchor="b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lobal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1,4,16]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50,10,2]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14400,7200,3600]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10,5,0]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10,50,100]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0,3,8]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24,16,8]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0,2,3]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43200,14400,0]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06619112"/>
                  </a:ext>
                </a:extLst>
              </a:tr>
              <a:tr h="40365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>
                          <a:effectLst/>
                        </a:rPr>
                        <a:t>Atmosphere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dirty="0">
                          <a:effectLst/>
                        </a:rPr>
                        <a:t>Wind Speed Profile: Eastward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>
                          <a:effectLst/>
                        </a:rPr>
                        <a:t>u</a:t>
                      </a:r>
                    </a:p>
                  </a:txBody>
                  <a:tcPr marL="9698" marR="9698" marT="6466" marB="6466" anchor="b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>
                          <a:effectLst/>
                        </a:rPr>
                        <a:t>m/s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lobal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0.25,1,4]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50,10,2]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14400,7200,3600]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10,5,0]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10,50,100]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3,8,15]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8,5,2]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0,2,3]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43200,14400,0]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1894366"/>
                  </a:ext>
                </a:extLst>
              </a:tr>
              <a:tr h="40365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>
                          <a:effectLst/>
                        </a:rPr>
                        <a:t>Atmosphere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dirty="0">
                          <a:effectLst/>
                        </a:rPr>
                        <a:t>Wind Speed Profile: Northward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dirty="0">
                          <a:effectLst/>
                        </a:rPr>
                        <a:t>v</a:t>
                      </a:r>
                    </a:p>
                  </a:txBody>
                  <a:tcPr marL="9698" marR="9698" marT="6466" marB="6466" anchor="b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>
                          <a:effectLst/>
                        </a:rPr>
                        <a:t>m/s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lobal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0.25,1,4]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50,10,2]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14400,7200,3600]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10,5,0]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10,50,100]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3,8,15]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8,5,2]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0,2,3]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43200,14400,0]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00143858"/>
                  </a:ext>
                </a:extLst>
              </a:tr>
              <a:tr h="27424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>
                          <a:effectLst/>
                        </a:rPr>
                        <a:t>Atmosphere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>
                          <a:effectLst/>
                        </a:rPr>
                        <a:t>Aerosol Concentration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dirty="0" err="1">
                          <a:solidFill>
                            <a:srgbClr val="000000"/>
                          </a:solidFill>
                          <a:effectLst/>
                        </a:rPr>
                        <a:t>n_A</a:t>
                      </a:r>
                      <a:endParaRPr lang="en-US" sz="100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marL="9698" marR="9698" marT="6466" marB="6466" anchor="b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>
                          <a:effectLst/>
                        </a:rPr>
                        <a:t>/m3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5232763"/>
                  </a:ext>
                </a:extLst>
              </a:tr>
              <a:tr h="27424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>
                          <a:effectLst/>
                        </a:rPr>
                        <a:t>Atmosphere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>
                          <a:effectLst/>
                        </a:rPr>
                        <a:t>Cloud Cover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 dirty="0">
                          <a:solidFill>
                            <a:srgbClr val="000000"/>
                          </a:solidFill>
                          <a:effectLst/>
                        </a:rPr>
                        <a:t>CC</a:t>
                      </a:r>
                    </a:p>
                  </a:txBody>
                  <a:tcPr marL="9698" marR="9698" marT="6466" marB="6466" anchor="b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dirty="0">
                          <a:effectLst/>
                        </a:rPr>
                        <a:t>Fraction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139767"/>
                  </a:ext>
                </a:extLst>
              </a:tr>
              <a:tr h="27424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>
                          <a:effectLst/>
                        </a:rPr>
                        <a:t>Atmosphere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800" i="0">
                          <a:effectLst/>
                          <a:latin typeface="Arial" panose="020B0604020202020204" pitchFamily="34" charset="0"/>
                        </a:rPr>
                        <a:t>Ozone Concentration </a:t>
                      </a:r>
                      <a:r>
                        <a:rPr lang="en-US" sz="800" i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(Column)</a:t>
                      </a:r>
                      <a:endParaRPr lang="en-US" sz="1000">
                        <a:effectLst/>
                      </a:endParaRP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</a:rPr>
                        <a:t>O_3</a:t>
                      </a:r>
                    </a:p>
                  </a:txBody>
                  <a:tcPr marL="9698" marR="9698" marT="6466" marB="6466" anchor="b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dirty="0">
                          <a:effectLst/>
                        </a:rPr>
                        <a:t>DU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7410573"/>
                  </a:ext>
                </a:extLst>
              </a:tr>
              <a:tr h="40365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>
                          <a:effectLst/>
                        </a:rPr>
                        <a:t>Atmosphere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>
                          <a:effectLst/>
                        </a:rPr>
                        <a:t>Cloud and Moisture Imagery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</a:rPr>
                        <a:t>CMI</a:t>
                      </a:r>
                    </a:p>
                  </a:txBody>
                  <a:tcPr marL="9698" marR="9698" marT="6466" marB="6466" anchor="b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dirty="0">
                          <a:effectLst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003837"/>
                  </a:ext>
                </a:extLst>
              </a:tr>
              <a:tr h="533073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>
                          <a:effectLst/>
                        </a:rPr>
                        <a:t>Atmosphere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>
                          <a:effectLst/>
                        </a:rPr>
                        <a:t>Incoming Shortwave Radiation: Surface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000">
                          <a:solidFill>
                            <a:srgbClr val="000000"/>
                          </a:solidFill>
                          <a:effectLst/>
                        </a:rPr>
                        <a:t>ISR</a:t>
                      </a:r>
                    </a:p>
                  </a:txBody>
                  <a:tcPr marL="9698" marR="9698" marT="6466" marB="6466" anchor="b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dirty="0">
                          <a:effectLst/>
                        </a:rPr>
                        <a:t>W/m2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43063732"/>
                  </a:ext>
                </a:extLst>
              </a:tr>
              <a:tr h="40365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>
                          <a:effectLst/>
                        </a:rPr>
                        <a:t>Atmosphere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>
                          <a:effectLst/>
                        </a:rPr>
                        <a:t>Air Temperature: Profiles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(z)</a:t>
                      </a:r>
                    </a:p>
                  </a:txBody>
                  <a:tcPr marL="9698" marR="9698" marT="6466" marB="6466" anchor="b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00" dirty="0">
                          <a:effectLst/>
                        </a:rPr>
                        <a:t>K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AD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lobal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0.25,1,4]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50,10,2]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14400,7200,3600]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10,5,0]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10,50,100]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3,8,15]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2.5,2,1.5]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0,2,3]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9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[43200,14400,0]</a:t>
                      </a:r>
                    </a:p>
                  </a:txBody>
                  <a:tcPr marL="9698" marR="9698" marT="6466" marB="6466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7710396"/>
                  </a:ext>
                </a:extLst>
              </a:tr>
            </a:tbl>
          </a:graphicData>
        </a:graphic>
      </p:graphicFrame>
      <p:sp>
        <p:nvSpPr>
          <p:cNvPr id="6" name="Rectangle 5"/>
          <p:cNvSpPr/>
          <p:nvPr/>
        </p:nvSpPr>
        <p:spPr>
          <a:xfrm>
            <a:off x="5574535" y="4252510"/>
            <a:ext cx="2214390" cy="1024569"/>
          </a:xfrm>
          <a:prstGeom prst="rect">
            <a:avLst/>
          </a:prstGeom>
          <a:solidFill>
            <a:schemeClr val="bg1"/>
          </a:solidFill>
          <a:ln w="381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00" b="1" dirty="0">
                <a:solidFill>
                  <a:sysClr val="windowText" lastClr="000000"/>
                </a:solidFill>
              </a:rPr>
              <a:t>Ranges in Triples:</a:t>
            </a:r>
          </a:p>
          <a:p>
            <a:pPr algn="ctr"/>
            <a:r>
              <a:rPr lang="en-US" sz="1800" b="1" dirty="0">
                <a:solidFill>
                  <a:sysClr val="windowText" lastClr="000000"/>
                </a:solidFill>
              </a:rPr>
              <a:t>[14400,7200,3600]</a:t>
            </a:r>
          </a:p>
        </p:txBody>
      </p:sp>
      <p:cxnSp>
        <p:nvCxnSpPr>
          <p:cNvPr id="8" name="Straight Arrow Connector 7"/>
          <p:cNvCxnSpPr>
            <a:stCxn id="6" idx="1"/>
          </p:cNvCxnSpPr>
          <p:nvPr/>
        </p:nvCxnSpPr>
        <p:spPr>
          <a:xfrm flipH="1" flipV="1">
            <a:off x="4759287" y="3767769"/>
            <a:ext cx="815248" cy="997026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190816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PEN Variables - Atmosphe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02E9C84-E806-4BCB-9177-5DCB69DAE732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12</a:t>
            </a:fld>
            <a:endParaRPr lang="en-US">
              <a:solidFill>
                <a:srgbClr val="FFFFFF"/>
              </a:solidFill>
            </a:endParaRPr>
          </a:p>
        </p:txBody>
      </p:sp>
      <p:graphicFrame>
        <p:nvGraphicFramePr>
          <p:cNvPr id="18" name="Tab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5568509"/>
              </p:ext>
            </p:extLst>
          </p:nvPr>
        </p:nvGraphicFramePr>
        <p:xfrm>
          <a:off x="478671" y="609158"/>
          <a:ext cx="4124326" cy="5747229"/>
        </p:xfrm>
        <a:graphic>
          <a:graphicData uri="http://schemas.openxmlformats.org/drawingml/2006/table">
            <a:tbl>
              <a:tblPr/>
              <a:tblGrid>
                <a:gridCol w="4124326">
                  <a:extLst>
                    <a:ext uri="{9D8B030D-6E8A-4147-A177-3AD203B41FA5}">
                      <a16:colId xmlns:a16="http://schemas.microsoft.com/office/drawing/2014/main" val="905589330"/>
                    </a:ext>
                  </a:extLst>
                </a:gridCol>
              </a:tblGrid>
              <a:tr h="16003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</a:rPr>
                        <a:t>Relative Humidity</a:t>
                      </a:r>
                    </a:p>
                  </a:txBody>
                  <a:tcPr marL="18186" marR="18186" marT="12124" marB="12124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3133129"/>
                  </a:ext>
                </a:extLst>
              </a:tr>
              <a:tr h="29583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>
                          <a:effectLst/>
                        </a:rPr>
                        <a:t>Wind Speed Profile: Eastward</a:t>
                      </a:r>
                    </a:p>
                  </a:txBody>
                  <a:tcPr marL="18186" marR="18186" marT="12124" marB="12124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0332644"/>
                  </a:ext>
                </a:extLst>
              </a:tr>
              <a:tr h="29583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Wind Speed Profile: Northward</a:t>
                      </a:r>
                    </a:p>
                  </a:txBody>
                  <a:tcPr marL="18186" marR="18186" marT="12124" marB="12124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7590105"/>
                  </a:ext>
                </a:extLst>
              </a:tr>
              <a:tr h="16003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Aerosol Concentration</a:t>
                      </a:r>
                    </a:p>
                  </a:txBody>
                  <a:tcPr marL="18186" marR="18186" marT="12124" marB="12124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0558123"/>
                  </a:ext>
                </a:extLst>
              </a:tr>
              <a:tr h="16003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Cloud Cover</a:t>
                      </a:r>
                    </a:p>
                  </a:txBody>
                  <a:tcPr marL="18186" marR="18186" marT="12124" marB="12124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288646"/>
                  </a:ext>
                </a:extLst>
              </a:tr>
              <a:tr h="12730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i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Ozone Concentration (Column)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18186" marR="18186" marT="12124" marB="12124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8726274"/>
                  </a:ext>
                </a:extLst>
              </a:tr>
              <a:tr h="29583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Cloud and Moisture Imagery</a:t>
                      </a:r>
                    </a:p>
                  </a:txBody>
                  <a:tcPr marL="18186" marR="18186" marT="12124" marB="12124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3190598"/>
                  </a:ext>
                </a:extLst>
              </a:tr>
              <a:tr h="29583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Incoming Shortwave Radiation: Surface</a:t>
                      </a:r>
                    </a:p>
                  </a:txBody>
                  <a:tcPr marL="18186" marR="18186" marT="12124" marB="12124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3128917"/>
                  </a:ext>
                </a:extLst>
              </a:tr>
              <a:tr h="29583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Air Temperature: Profiles</a:t>
                      </a:r>
                    </a:p>
                  </a:txBody>
                  <a:tcPr marL="18186" marR="18186" marT="12124" marB="12124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64874624"/>
                  </a:ext>
                </a:extLst>
              </a:tr>
              <a:tr h="295830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Water Vapor: Boundary Layer Depth</a:t>
                      </a:r>
                    </a:p>
                  </a:txBody>
                  <a:tcPr marL="18186" marR="18186" marT="12124" marB="12124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5856362"/>
                  </a:ext>
                </a:extLst>
              </a:tr>
              <a:tr h="16003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Carbon Dioxide/CO2</a:t>
                      </a:r>
                    </a:p>
                  </a:txBody>
                  <a:tcPr marL="18186" marR="18186" marT="12124" marB="12124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8184443"/>
                  </a:ext>
                </a:extLst>
              </a:tr>
              <a:tr h="16003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Total Lightning</a:t>
                      </a:r>
                    </a:p>
                  </a:txBody>
                  <a:tcPr marL="18186" marR="18186" marT="12124" marB="12124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4103521"/>
                  </a:ext>
                </a:extLst>
              </a:tr>
              <a:tr h="16003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Specific Humidity</a:t>
                      </a:r>
                    </a:p>
                  </a:txBody>
                  <a:tcPr marL="18186" marR="18186" marT="12124" marB="12124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715756"/>
                  </a:ext>
                </a:extLst>
              </a:tr>
              <a:tr h="160039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Methane CH4</a:t>
                      </a:r>
                    </a:p>
                  </a:txBody>
                  <a:tcPr marL="18186" marR="18186" marT="12124" marB="1212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37096743"/>
                  </a:ext>
                </a:extLst>
              </a:tr>
              <a:tr h="160039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Carbon Monoxide/CO</a:t>
                      </a:r>
                    </a:p>
                  </a:txBody>
                  <a:tcPr marL="18186" marR="18186" marT="12124" marB="1212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2550977"/>
                  </a:ext>
                </a:extLst>
              </a:tr>
              <a:tr h="160039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Sulfur Dioxide/SO2</a:t>
                      </a:r>
                    </a:p>
                  </a:txBody>
                  <a:tcPr marL="18186" marR="18186" marT="12124" marB="1212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5662064"/>
                  </a:ext>
                </a:extLst>
              </a:tr>
              <a:tr h="29583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Total </a:t>
                      </a:r>
                      <a:r>
                        <a:rPr lang="en-US" sz="1600" b="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recipitable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 Water</a:t>
                      </a:r>
                    </a:p>
                  </a:txBody>
                  <a:tcPr marL="18186" marR="18186" marT="12124" marB="1212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7325993"/>
                  </a:ext>
                </a:extLst>
              </a:tr>
              <a:tr h="160039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Layer </a:t>
                      </a:r>
                      <a:r>
                        <a:rPr lang="en-US" sz="1600" b="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recip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 Water</a:t>
                      </a:r>
                    </a:p>
                  </a:txBody>
                  <a:tcPr marL="18186" marR="18186" marT="12124" marB="1212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1626331"/>
                  </a:ext>
                </a:extLst>
              </a:tr>
              <a:tr h="29583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erosol Optical Depth/Thickness</a:t>
                      </a:r>
                    </a:p>
                  </a:txBody>
                  <a:tcPr marL="18186" marR="18186" marT="12124" marB="1212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3902925"/>
                  </a:ext>
                </a:extLst>
              </a:tr>
              <a:tr h="431621"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Ozone profile (Troposphere vs stratosphere)</a:t>
                      </a:r>
                    </a:p>
                  </a:txBody>
                  <a:tcPr marL="18186" marR="18186" marT="12124" marB="1212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8478358"/>
                  </a:ext>
                </a:extLst>
              </a:tr>
            </a:tbl>
          </a:graphicData>
        </a:graphic>
      </p:graphicFrame>
      <p:graphicFrame>
        <p:nvGraphicFramePr>
          <p:cNvPr id="19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7038689"/>
              </p:ext>
            </p:extLst>
          </p:nvPr>
        </p:nvGraphicFramePr>
        <p:xfrm>
          <a:off x="5055664" y="368508"/>
          <a:ext cx="3631135" cy="6032252"/>
        </p:xfrm>
        <a:graphic>
          <a:graphicData uri="http://schemas.openxmlformats.org/drawingml/2006/table">
            <a:tbl>
              <a:tblPr/>
              <a:tblGrid>
                <a:gridCol w="3631135">
                  <a:extLst>
                    <a:ext uri="{9D8B030D-6E8A-4147-A177-3AD203B41FA5}">
                      <a16:colId xmlns:a16="http://schemas.microsoft.com/office/drawing/2014/main" val="2157266688"/>
                    </a:ext>
                  </a:extLst>
                </a:gridCol>
              </a:tblGrid>
              <a:tr h="158721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Nitrogen Dioxide/NO2</a:t>
                      </a:r>
                    </a:p>
                  </a:txBody>
                  <a:tcPr marL="18037" marR="18037" marT="12024" marB="1202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3165405"/>
                  </a:ext>
                </a:extLst>
              </a:tr>
              <a:tr h="293394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Smoke (evaluated at night)</a:t>
                      </a:r>
                    </a:p>
                  </a:txBody>
                  <a:tcPr marL="18037" marR="18037" marT="12024" marB="1202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904511"/>
                  </a:ext>
                </a:extLst>
              </a:tr>
              <a:tr h="428067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Hydrometer Size and Type (Low Cloud and Fog </a:t>
                      </a:r>
                      <a:r>
                        <a:rPr lang="en-US" sz="1600" b="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val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 at night)</a:t>
                      </a:r>
                    </a:p>
                  </a:txBody>
                  <a:tcPr marL="18037" marR="18037" marT="12024" marB="1202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8121989"/>
                  </a:ext>
                </a:extLst>
              </a:tr>
              <a:tr h="293394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Aerosol Refractive Index</a:t>
                      </a:r>
                    </a:p>
                  </a:txBody>
                  <a:tcPr marL="18037" marR="18037" marT="12024" marB="1202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4827059"/>
                  </a:ext>
                </a:extLst>
              </a:tr>
              <a:tr h="158721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Effective reflectivity</a:t>
                      </a:r>
                    </a:p>
                  </a:txBody>
                  <a:tcPr marL="18037" marR="18037" marT="12024" marB="1202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3723002"/>
                  </a:ext>
                </a:extLst>
              </a:tr>
              <a:tr h="158721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erosol Layer Height</a:t>
                      </a:r>
                    </a:p>
                  </a:txBody>
                  <a:tcPr marL="18037" marR="18037" marT="12024" marB="1202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31726141"/>
                  </a:ext>
                </a:extLst>
              </a:tr>
              <a:tr h="158721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UV Aerosol Index</a:t>
                      </a:r>
                    </a:p>
                  </a:txBody>
                  <a:tcPr marL="18037" marR="18037" marT="12024" marB="1202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7219755"/>
                  </a:ext>
                </a:extLst>
              </a:tr>
              <a:tr h="158721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Formaldehyde/CH2O</a:t>
                      </a:r>
                    </a:p>
                  </a:txBody>
                  <a:tcPr marL="18037" marR="18037" marT="12024" marB="1202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6275329"/>
                  </a:ext>
                </a:extLst>
              </a:tr>
              <a:tr h="158721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b="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Glyoxal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/C2H2O2</a:t>
                      </a:r>
                    </a:p>
                  </a:txBody>
                  <a:tcPr marL="18037" marR="18037" marT="12024" marB="1202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0067974"/>
                  </a:ext>
                </a:extLst>
              </a:tr>
              <a:tr h="158721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Isoprene/C5H8</a:t>
                      </a:r>
                    </a:p>
                  </a:txBody>
                  <a:tcPr marL="18037" marR="18037" marT="12024" marB="1202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7807077"/>
                  </a:ext>
                </a:extLst>
              </a:tr>
              <a:tr h="158721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b="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Volcanic Ash</a:t>
                      </a:r>
                    </a:p>
                  </a:txBody>
                  <a:tcPr marL="18037" marR="18037" marT="12024" marB="1202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3871142"/>
                  </a:ext>
                </a:extLst>
              </a:tr>
              <a:tr h="158721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Aerosol Particle Size</a:t>
                      </a:r>
                    </a:p>
                  </a:txBody>
                  <a:tcPr marL="18037" marR="18037" marT="12024" marB="1202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5590425"/>
                  </a:ext>
                </a:extLst>
              </a:tr>
              <a:tr h="158721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Aerosol Shape</a:t>
                      </a:r>
                    </a:p>
                  </a:txBody>
                  <a:tcPr marL="18037" marR="18037" marT="12024" marB="1202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7825818"/>
                  </a:ext>
                </a:extLst>
              </a:tr>
              <a:tr h="341491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Incoming (Downward) Longwave Radiation</a:t>
                      </a:r>
                    </a:p>
                  </a:txBody>
                  <a:tcPr marL="18037" marR="18037" marT="12024" marB="1202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3190548"/>
                  </a:ext>
                </a:extLst>
              </a:tr>
              <a:tr h="341491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Incoming (Downward) Shortwave Radiation</a:t>
                      </a:r>
                    </a:p>
                  </a:txBody>
                  <a:tcPr marL="18037" marR="18037" marT="12024" marB="1202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3315202"/>
                  </a:ext>
                </a:extLst>
              </a:tr>
              <a:tr h="235677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Outgoing Longwave Radiation</a:t>
                      </a:r>
                    </a:p>
                  </a:txBody>
                  <a:tcPr marL="18037" marR="18037" marT="12024" marB="1202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3215117"/>
                  </a:ext>
                </a:extLst>
              </a:tr>
              <a:tr h="235677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Net Solar Radiation at top of Atmosphere</a:t>
                      </a:r>
                    </a:p>
                  </a:txBody>
                  <a:tcPr marL="18037" marR="18037" marT="12024" marB="1202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94809865"/>
                  </a:ext>
                </a:extLst>
              </a:tr>
              <a:tr h="293394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b="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Net Heat Flux</a:t>
                      </a:r>
                    </a:p>
                  </a:txBody>
                  <a:tcPr marL="18037" marR="18037" marT="12024" marB="1202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1808205"/>
                  </a:ext>
                </a:extLst>
              </a:tr>
              <a:tr h="158721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Nitric Acid (HNO3)</a:t>
                      </a:r>
                    </a:p>
                  </a:txBody>
                  <a:tcPr marL="18037" marR="18037" marT="12024" marB="1202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7942482"/>
                  </a:ext>
                </a:extLst>
              </a:tr>
              <a:tr h="158721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Nitrous Oxide (N2O)</a:t>
                      </a:r>
                    </a:p>
                  </a:txBody>
                  <a:tcPr marL="18037" marR="18037" marT="12024" marB="1202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0374073"/>
                  </a:ext>
                </a:extLst>
              </a:tr>
              <a:tr h="158721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b="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Dust</a:t>
                      </a:r>
                    </a:p>
                  </a:txBody>
                  <a:tcPr marL="18037" marR="18037" marT="12024" marB="12024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60435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957928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PEN Variables – Biosphere and Cryosphe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02E9C84-E806-4BCB-9177-5DCB69DAE732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13</a:t>
            </a:fld>
            <a:endParaRPr lang="en-US">
              <a:solidFill>
                <a:srgbClr val="FFFFFF"/>
              </a:solidFill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8013585"/>
              </p:ext>
            </p:extLst>
          </p:nvPr>
        </p:nvGraphicFramePr>
        <p:xfrm>
          <a:off x="829804" y="1423091"/>
          <a:ext cx="3447727" cy="3634740"/>
        </p:xfrm>
        <a:graphic>
          <a:graphicData uri="http://schemas.openxmlformats.org/drawingml/2006/table">
            <a:tbl>
              <a:tblPr/>
              <a:tblGrid>
                <a:gridCol w="3447727">
                  <a:extLst>
                    <a:ext uri="{9D8B030D-6E8A-4147-A177-3AD203B41FA5}">
                      <a16:colId xmlns:a16="http://schemas.microsoft.com/office/drawing/2014/main" val="2121780366"/>
                    </a:ext>
                  </a:extLst>
                </a:gridCol>
              </a:tblGrid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</a:rPr>
                        <a:t>Fire Radiative Power</a:t>
                      </a:r>
                    </a:p>
                  </a:txBody>
                  <a:tcPr marL="28575" marR="28575" marT="19050" marB="19050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2821524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>
                          <a:effectLst/>
                        </a:rPr>
                        <a:t>Flood standing water: Extent</a:t>
                      </a:r>
                    </a:p>
                  </a:txBody>
                  <a:tcPr marL="28575" marR="28575" marT="19050" marB="19050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130881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>
                          <a:effectLst/>
                        </a:rPr>
                        <a:t>Normalized Difference Vegetation Index</a:t>
                      </a:r>
                    </a:p>
                  </a:txBody>
                  <a:tcPr marL="28575" marR="28575" marT="19050" marB="19050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4232065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>
                          <a:effectLst/>
                        </a:rPr>
                        <a:t>Soil Moisture: Surface Wetness</a:t>
                      </a:r>
                    </a:p>
                  </a:txBody>
                  <a:tcPr marL="28575" marR="28575" marT="19050" marB="19050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5858297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>
                          <a:effectLst/>
                        </a:rPr>
                        <a:t>Land Surface Albedo</a:t>
                      </a:r>
                    </a:p>
                  </a:txBody>
                  <a:tcPr marL="28575" marR="28575" marT="19050" marB="19050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9935560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dirty="0">
                          <a:effectLst/>
                        </a:rPr>
                        <a:t>Fires: Location and Size (taking size)</a:t>
                      </a:r>
                    </a:p>
                  </a:txBody>
                  <a:tcPr marL="28575" marR="28575" marT="19050" marB="19050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9464351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>
                          <a:effectLst/>
                        </a:rPr>
                        <a:t>Land Surface Temperature</a:t>
                      </a:r>
                    </a:p>
                  </a:txBody>
                  <a:tcPr marL="28575" marR="28575" marT="19050" marB="19050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265371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Surface Type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50125871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800" b="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Fraction of </a:t>
                      </a:r>
                      <a:r>
                        <a:rPr lang="en-US" sz="1800" b="0" dirty="0" err="1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Photosynthetically</a:t>
                      </a:r>
                      <a:r>
                        <a:rPr lang="en-US" sz="1800" b="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Active Radiation (FPAR)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7803098"/>
                  </a:ext>
                </a:extLst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2379006"/>
              </p:ext>
            </p:extLst>
          </p:nvPr>
        </p:nvGraphicFramePr>
        <p:xfrm>
          <a:off x="5231323" y="1423091"/>
          <a:ext cx="3137761" cy="3124200"/>
        </p:xfrm>
        <a:graphic>
          <a:graphicData uri="http://schemas.openxmlformats.org/drawingml/2006/table">
            <a:tbl>
              <a:tblPr/>
              <a:tblGrid>
                <a:gridCol w="3137761">
                  <a:extLst>
                    <a:ext uri="{9D8B030D-6E8A-4147-A177-3AD203B41FA5}">
                      <a16:colId xmlns:a16="http://schemas.microsoft.com/office/drawing/2014/main" val="2520319970"/>
                    </a:ext>
                  </a:extLst>
                </a:gridCol>
              </a:tblGrid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>
                          <a:solidFill>
                            <a:srgbClr val="000000"/>
                          </a:solidFill>
                          <a:effectLst/>
                        </a:rPr>
                        <a:t>Sea Ice Age</a:t>
                      </a:r>
                    </a:p>
                  </a:txBody>
                  <a:tcPr marL="28575" marR="28575" marT="19050" marB="19050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2967991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>
                          <a:effectLst/>
                        </a:rPr>
                        <a:t>Sea Ice Concentration</a:t>
                      </a:r>
                    </a:p>
                  </a:txBody>
                  <a:tcPr marL="28575" marR="28575" marT="19050" marB="19050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5005424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>
                          <a:effectLst/>
                        </a:rPr>
                        <a:t>Snow Water Equivalent</a:t>
                      </a:r>
                    </a:p>
                  </a:txBody>
                  <a:tcPr marL="28575" marR="28575" marT="19050" marB="19050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597959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dirty="0">
                          <a:effectLst/>
                        </a:rPr>
                        <a:t>Ice Surface Temperature</a:t>
                      </a:r>
                    </a:p>
                  </a:txBody>
                  <a:tcPr marL="28575" marR="28575" marT="19050" marB="19050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7610149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>
                          <a:effectLst/>
                        </a:rPr>
                        <a:t>Snow Cover</a:t>
                      </a:r>
                    </a:p>
                  </a:txBody>
                  <a:tcPr marL="28575" marR="28575" marT="19050" marB="19050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3862222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>
                          <a:effectLst/>
                        </a:rPr>
                        <a:t>Snow Depth</a:t>
                      </a:r>
                    </a:p>
                  </a:txBody>
                  <a:tcPr marL="28575" marR="28575" marT="19050" marB="19050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4259981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>
                          <a:effectLst/>
                        </a:rPr>
                        <a:t>Snow Grain Size</a:t>
                      </a:r>
                    </a:p>
                  </a:txBody>
                  <a:tcPr marL="28575" marR="28575" marT="19050" marB="19050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7671900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dirty="0">
                          <a:effectLst/>
                        </a:rPr>
                        <a:t>Sea Ice Motion, Local</a:t>
                      </a:r>
                    </a:p>
                  </a:txBody>
                  <a:tcPr marL="28575" marR="28575" marT="19050" marB="19050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994142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Sea Ice Freeboard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318170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8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Sea Ice Thickness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7407670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782197" y="5895528"/>
            <a:ext cx="290496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urrently in ASPEN</a:t>
            </a:r>
          </a:p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ossible future addition to ASPEN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82197" y="1106588"/>
            <a:ext cx="105990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Biospher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231323" y="1106588"/>
            <a:ext cx="11801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Cryosphere</a:t>
            </a:r>
          </a:p>
        </p:txBody>
      </p:sp>
    </p:spTree>
    <p:extLst>
      <p:ext uri="{BB962C8B-B14F-4D97-AF65-F5344CB8AC3E}">
        <p14:creationId xmlns:p14="http://schemas.microsoft.com/office/powerpoint/2010/main" val="24658459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PEN Variables – Hydrosphere and Ocea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02E9C84-E806-4BCB-9177-5DCB69DAE732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14</a:t>
            </a:fld>
            <a:endParaRPr lang="en-US">
              <a:solidFill>
                <a:srgbClr val="FFFFFF"/>
              </a:solidFill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6052908"/>
              </p:ext>
            </p:extLst>
          </p:nvPr>
        </p:nvGraphicFramePr>
        <p:xfrm>
          <a:off x="876300" y="1401006"/>
          <a:ext cx="2579822" cy="2743200"/>
        </p:xfrm>
        <a:graphic>
          <a:graphicData uri="http://schemas.openxmlformats.org/drawingml/2006/table">
            <a:tbl>
              <a:tblPr/>
              <a:tblGrid>
                <a:gridCol w="2579822">
                  <a:extLst>
                    <a:ext uri="{9D8B030D-6E8A-4147-A177-3AD203B41FA5}">
                      <a16:colId xmlns:a16="http://schemas.microsoft.com/office/drawing/2014/main" val="374883136"/>
                    </a:ext>
                  </a:extLst>
                </a:gridCol>
              </a:tblGrid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>
                          <a:effectLst/>
                        </a:rPr>
                        <a:t>Cloud Liquid Water Path</a:t>
                      </a:r>
                    </a:p>
                  </a:txBody>
                  <a:tcPr marL="28575" marR="28575" marT="19050" marB="19050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76030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</a:rPr>
                        <a:t>Rain Rate</a:t>
                      </a:r>
                    </a:p>
                  </a:txBody>
                  <a:tcPr marL="28575" marR="28575" marT="19050" marB="19050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6421124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>
                          <a:effectLst/>
                        </a:rPr>
                        <a:t>Cloud Drop Size (at Cloud Top)</a:t>
                      </a:r>
                    </a:p>
                  </a:txBody>
                  <a:tcPr marL="28575" marR="28575" marT="19050" marB="19050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760740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>
                          <a:effectLst/>
                        </a:rPr>
                        <a:t>Cloud Top Temperature</a:t>
                      </a:r>
                    </a:p>
                  </a:txBody>
                  <a:tcPr marL="28575" marR="28575" marT="19050" marB="19050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2537880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Precipitation Rate/Snowfall Rate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1301894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Cloud Base Height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6129504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Cloud Optical Depth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054456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Cloud Top Height</a:t>
                      </a:r>
                    </a:p>
                  </a:txBody>
                  <a:tcPr marL="28575" marR="28575" marT="19050" marB="19050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5721100"/>
                  </a:ext>
                </a:extLst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2293895"/>
              </p:ext>
            </p:extLst>
          </p:nvPr>
        </p:nvGraphicFramePr>
        <p:xfrm>
          <a:off x="4437506" y="947963"/>
          <a:ext cx="3947077" cy="4929819"/>
        </p:xfrm>
        <a:graphic>
          <a:graphicData uri="http://schemas.openxmlformats.org/drawingml/2006/table">
            <a:tbl>
              <a:tblPr/>
              <a:tblGrid>
                <a:gridCol w="3947077">
                  <a:extLst>
                    <a:ext uri="{9D8B030D-6E8A-4147-A177-3AD203B41FA5}">
                      <a16:colId xmlns:a16="http://schemas.microsoft.com/office/drawing/2014/main" val="654109900"/>
                    </a:ext>
                  </a:extLst>
                </a:gridCol>
              </a:tblGrid>
              <a:tr h="43783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>
                          <a:effectLst/>
                        </a:rPr>
                        <a:t>Ocean color: Chlorophyll-a Concentration</a:t>
                      </a:r>
                    </a:p>
                  </a:txBody>
                  <a:tcPr marL="18448" marR="18448" marT="12299" marB="1229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4601062"/>
                  </a:ext>
                </a:extLst>
              </a:tr>
              <a:tr h="16234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</a:rPr>
                        <a:t>Salinity</a:t>
                      </a:r>
                    </a:p>
                  </a:txBody>
                  <a:tcPr marL="18448" marR="18448" marT="12299" marB="1229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3772003"/>
                  </a:ext>
                </a:extLst>
              </a:tr>
              <a:tr h="16234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>
                          <a:effectLst/>
                        </a:rPr>
                        <a:t>Sea Surface Height</a:t>
                      </a:r>
                    </a:p>
                  </a:txBody>
                  <a:tcPr marL="18448" marR="18448" marT="12299" marB="1229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0612350"/>
                  </a:ext>
                </a:extLst>
              </a:tr>
              <a:tr h="30009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>
                          <a:effectLst/>
                        </a:rPr>
                        <a:t>Sea Surface Temperature</a:t>
                      </a:r>
                    </a:p>
                  </a:txBody>
                  <a:tcPr marL="18448" marR="18448" marT="12299" marB="1229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1824439"/>
                  </a:ext>
                </a:extLst>
              </a:tr>
              <a:tr h="16234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>
                          <a:effectLst/>
                        </a:rPr>
                        <a:t>Bathymetry</a:t>
                      </a:r>
                    </a:p>
                  </a:txBody>
                  <a:tcPr marL="18448" marR="18448" marT="12299" marB="1229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019052"/>
                  </a:ext>
                </a:extLst>
              </a:tr>
              <a:tr h="16234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>
                          <a:effectLst/>
                        </a:rPr>
                        <a:t>Wave Height</a:t>
                      </a:r>
                    </a:p>
                  </a:txBody>
                  <a:tcPr marL="18448" marR="18448" marT="12299" marB="1229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7471691"/>
                  </a:ext>
                </a:extLst>
              </a:tr>
              <a:tr h="30009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>
                          <a:effectLst/>
                        </a:rPr>
                        <a:t>Global Sea Surface Wind Speed</a:t>
                      </a:r>
                    </a:p>
                  </a:txBody>
                  <a:tcPr marL="18448" marR="18448" marT="12299" marB="1229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585682"/>
                  </a:ext>
                </a:extLst>
              </a:tr>
              <a:tr h="30009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>
                          <a:effectLst/>
                        </a:rPr>
                        <a:t>Global Sea Surface Wind Direction</a:t>
                      </a:r>
                    </a:p>
                  </a:txBody>
                  <a:tcPr marL="18448" marR="18448" marT="12299" marB="12299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546205"/>
                  </a:ext>
                </a:extLst>
              </a:tr>
              <a:tr h="300091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b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Ocean Color: Marine Oil / Pollution Extent</a:t>
                      </a:r>
                    </a:p>
                  </a:txBody>
                  <a:tcPr marL="18448" marR="18448" marT="12299" marB="12299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240643"/>
                  </a:ext>
                </a:extLst>
              </a:tr>
              <a:tr h="300091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b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Suspended Sediment Concentration</a:t>
                      </a:r>
                    </a:p>
                  </a:txBody>
                  <a:tcPr marL="18448" marR="18448" marT="12299" marB="12299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3391654"/>
                  </a:ext>
                </a:extLst>
              </a:tr>
              <a:tr h="437838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Ocean Color: Colored Dissolved Organic Matter (</a:t>
                      </a:r>
                      <a:r>
                        <a:rPr lang="en-US" sz="16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absorp</a:t>
                      </a:r>
                      <a:r>
                        <a:rPr lang="en-US" sz="16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coef</a:t>
                      </a:r>
                      <a:r>
                        <a:rPr lang="en-US" sz="160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</a:rPr>
                        <a:t>)</a:t>
                      </a:r>
                    </a:p>
                  </a:txBody>
                  <a:tcPr marL="18448" marR="18448" marT="12299" marB="12299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6191010"/>
                  </a:ext>
                </a:extLst>
              </a:tr>
              <a:tr h="300091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b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Pigments (beyond </a:t>
                      </a:r>
                      <a:r>
                        <a:rPr lang="en-US" sz="1600" b="0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Chl</a:t>
                      </a:r>
                      <a:r>
                        <a:rPr lang="en-US" sz="1600" b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a)</a:t>
                      </a:r>
                    </a:p>
                  </a:txBody>
                  <a:tcPr marL="18448" marR="18448" marT="12299" marB="12299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9610898"/>
                  </a:ext>
                </a:extLst>
              </a:tr>
              <a:tr h="162344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b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Fluorescence</a:t>
                      </a:r>
                    </a:p>
                  </a:txBody>
                  <a:tcPr marL="18448" marR="18448" marT="12299" marB="12299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1881951"/>
                  </a:ext>
                </a:extLst>
              </a:tr>
              <a:tr h="247284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b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Water leaving radiance?</a:t>
                      </a:r>
                    </a:p>
                  </a:txBody>
                  <a:tcPr marL="18448" marR="18448" marT="12299" marB="12299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6787096"/>
                  </a:ext>
                </a:extLst>
              </a:tr>
              <a:tr h="300091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b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Phytoplankton composition</a:t>
                      </a:r>
                    </a:p>
                  </a:txBody>
                  <a:tcPr marL="18448" marR="18448" marT="12299" marB="12299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5733083"/>
                  </a:ext>
                </a:extLst>
              </a:tr>
              <a:tr h="162344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b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Absorbing aerosols</a:t>
                      </a:r>
                    </a:p>
                  </a:txBody>
                  <a:tcPr marL="18448" marR="18448" marT="12299" marB="12299" anchor="b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9448960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782197" y="5895528"/>
            <a:ext cx="290496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urrently in ASPEN</a:t>
            </a:r>
          </a:p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ossible future addition to ASPEN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782197" y="1093229"/>
            <a:ext cx="128913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Hydrospher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437506" y="636203"/>
            <a:ext cx="7312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Ocean</a:t>
            </a:r>
          </a:p>
        </p:txBody>
      </p:sp>
    </p:spTree>
    <p:extLst>
      <p:ext uri="{BB962C8B-B14F-4D97-AF65-F5344CB8AC3E}">
        <p14:creationId xmlns:p14="http://schemas.microsoft.com/office/powerpoint/2010/main" val="5856962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PEN Applications – Earth System, Land/Hydrology, and Space Weath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02E9C84-E806-4BCB-9177-5DCB69DAE732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15</a:t>
            </a:fld>
            <a:endParaRPr lang="en-US">
              <a:solidFill>
                <a:srgbClr val="FFFFFF"/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7795017"/>
              </p:ext>
            </p:extLst>
          </p:nvPr>
        </p:nvGraphicFramePr>
        <p:xfrm>
          <a:off x="1000285" y="979838"/>
          <a:ext cx="3308243" cy="3785972"/>
        </p:xfrm>
        <a:graphic>
          <a:graphicData uri="http://schemas.openxmlformats.org/drawingml/2006/table">
            <a:tbl>
              <a:tblPr/>
              <a:tblGrid>
                <a:gridCol w="3308243">
                  <a:extLst>
                    <a:ext uri="{9D8B030D-6E8A-4147-A177-3AD203B41FA5}">
                      <a16:colId xmlns:a16="http://schemas.microsoft.com/office/drawing/2014/main" val="605747436"/>
                    </a:ext>
                  </a:extLst>
                </a:gridCol>
              </a:tblGrid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</a:rPr>
                        <a:t>Unified Forecast System (UFS)</a:t>
                      </a:r>
                    </a:p>
                  </a:txBody>
                  <a:tcPr marL="28575" marR="28575" marT="19050" marB="19050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9335009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</a:rPr>
                        <a:t>Assessments of Climate Changes &amp; Its Impacts (CLI-ACC)</a:t>
                      </a:r>
                    </a:p>
                  </a:txBody>
                  <a:tcPr marL="28575" marR="28575" marT="19050" marB="19050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6077184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fr-FR" sz="1600" dirty="0" err="1">
                          <a:solidFill>
                            <a:srgbClr val="434343"/>
                          </a:solidFill>
                          <a:effectLst/>
                        </a:rPr>
                        <a:t>Climate</a:t>
                      </a:r>
                      <a:r>
                        <a:rPr lang="fr-FR" sz="1600" dirty="0">
                          <a:solidFill>
                            <a:srgbClr val="434343"/>
                          </a:solidFill>
                          <a:effectLst/>
                        </a:rPr>
                        <a:t> Mitigation &amp; Adaptation </a:t>
                      </a:r>
                      <a:r>
                        <a:rPr lang="fr-FR" sz="1600" dirty="0" err="1">
                          <a:solidFill>
                            <a:srgbClr val="434343"/>
                          </a:solidFill>
                          <a:effectLst/>
                        </a:rPr>
                        <a:t>Strategies</a:t>
                      </a:r>
                      <a:r>
                        <a:rPr lang="fr-FR" sz="1600" dirty="0">
                          <a:solidFill>
                            <a:srgbClr val="434343"/>
                          </a:solidFill>
                          <a:effectLst/>
                        </a:rPr>
                        <a:t> (CLI-CMA)</a:t>
                      </a:r>
                    </a:p>
                  </a:txBody>
                  <a:tcPr marL="28575" marR="28575" marT="19050" marB="19050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16937551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</a:rPr>
                        <a:t>Climate Prediction and Projections (CLI-CPP)</a:t>
                      </a:r>
                    </a:p>
                  </a:txBody>
                  <a:tcPr marL="28575" marR="28575" marT="19050" marB="19050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509180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</a:rPr>
                        <a:t>Climate Science &amp; Improved Understanding (CLI-SIU)</a:t>
                      </a:r>
                    </a:p>
                  </a:txBody>
                  <a:tcPr marL="28575" marR="28575" marT="19050" marB="19050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9088880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dirty="0">
                          <a:solidFill>
                            <a:srgbClr val="434343"/>
                          </a:solidFill>
                          <a:effectLst/>
                        </a:rPr>
                        <a:t>Science and Services and Stewardship Advanced (WRN-SSS)</a:t>
                      </a:r>
                    </a:p>
                  </a:txBody>
                  <a:tcPr marL="28575" marR="28575" marT="19050" marB="19050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5009651"/>
                  </a:ext>
                </a:extLst>
              </a:tr>
              <a:tr h="593192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Climate Forecast System Model (CFS NCEP/EMC)</a:t>
                      </a:r>
                    </a:p>
                  </a:txBody>
                  <a:tcPr marL="28575" marR="28575" marT="19050" marB="19050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887643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Climate Monitoring</a:t>
                      </a:r>
                    </a:p>
                  </a:txBody>
                  <a:tcPr marL="28575" marR="28575" marT="19050" marB="19050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52975571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2229648"/>
              </p:ext>
            </p:extLst>
          </p:nvPr>
        </p:nvGraphicFramePr>
        <p:xfrm>
          <a:off x="5138334" y="1041390"/>
          <a:ext cx="3277246" cy="4000500"/>
        </p:xfrm>
        <a:graphic>
          <a:graphicData uri="http://schemas.openxmlformats.org/drawingml/2006/table">
            <a:tbl>
              <a:tblPr/>
              <a:tblGrid>
                <a:gridCol w="3277246">
                  <a:extLst>
                    <a:ext uri="{9D8B030D-6E8A-4147-A177-3AD203B41FA5}">
                      <a16:colId xmlns:a16="http://schemas.microsoft.com/office/drawing/2014/main" val="2312952729"/>
                    </a:ext>
                  </a:extLst>
                </a:gridCol>
              </a:tblGrid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</a:rPr>
                        <a:t>Fire Weather (WRN-FWX)</a:t>
                      </a:r>
                    </a:p>
                  </a:txBody>
                  <a:tcPr marL="28575" marR="28575" marT="19050" marB="19050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173826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</a:rPr>
                        <a:t>Fire Monitoring</a:t>
                      </a:r>
                    </a:p>
                  </a:txBody>
                  <a:tcPr marL="28575" marR="28575" marT="19050" marB="19050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9621272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Drought Monitoring</a:t>
                      </a:r>
                    </a:p>
                  </a:txBody>
                  <a:tcPr marL="28575" marR="28575" marT="19050" marB="19050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6052049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Flood Forecasting</a:t>
                      </a:r>
                    </a:p>
                  </a:txBody>
                  <a:tcPr marL="28575" marR="28575" marT="19050" marB="19050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86730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Hydrology &amp; Water Resources (WRN-IWF)</a:t>
                      </a:r>
                    </a:p>
                  </a:txBody>
                  <a:tcPr marL="28575" marR="28575" marT="19050" marB="19050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016766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Land Surface Assimilation and Modeling</a:t>
                      </a:r>
                    </a:p>
                  </a:txBody>
                  <a:tcPr marL="28575" marR="28575" marT="19050" marB="19050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5431341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North American Land Data Assimilation System (NLDAS NCEP-EMC)</a:t>
                      </a:r>
                    </a:p>
                  </a:txBody>
                  <a:tcPr marL="28575" marR="28575" marT="19050" marB="19050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029764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Sea, Lake, and Overland Surge from Hurricanes Model (SLOSH OST-MDL)</a:t>
                      </a:r>
                    </a:p>
                  </a:txBody>
                  <a:tcPr marL="28575" marR="28575" marT="19050" marB="19050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6855029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Search and Rescue Operations</a:t>
                      </a:r>
                    </a:p>
                  </a:txBody>
                  <a:tcPr marL="28575" marR="28575" marT="19050" marB="19050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4538608"/>
                  </a:ext>
                </a:extLst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782197" y="5895528"/>
            <a:ext cx="290496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urrently in ASPEN</a:t>
            </a:r>
          </a:p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ossible future addition to ASPEN</a:t>
            </a: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5150619"/>
              </p:ext>
            </p:extLst>
          </p:nvPr>
        </p:nvGraphicFramePr>
        <p:xfrm>
          <a:off x="5138334" y="5511303"/>
          <a:ext cx="3277246" cy="604565"/>
        </p:xfrm>
        <a:graphic>
          <a:graphicData uri="http://schemas.openxmlformats.org/drawingml/2006/table">
            <a:tbl>
              <a:tblPr/>
              <a:tblGrid>
                <a:gridCol w="3277246">
                  <a:extLst>
                    <a:ext uri="{9D8B030D-6E8A-4147-A177-3AD203B41FA5}">
                      <a16:colId xmlns:a16="http://schemas.microsoft.com/office/drawing/2014/main" val="1333613146"/>
                    </a:ext>
                  </a:extLst>
                </a:gridCol>
              </a:tblGrid>
              <a:tr h="60456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dirty="0">
                          <a:effectLst/>
                        </a:rPr>
                        <a:t>Space Weather (WRN-SWX)</a:t>
                      </a:r>
                    </a:p>
                  </a:txBody>
                  <a:tcPr marL="19050" marR="19050" marT="12700" marB="12700" anchor="ctr">
                    <a:lnL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0625678"/>
                  </a:ext>
                </a:extLst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903864" y="633732"/>
            <a:ext cx="13308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Earth System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138334" y="717906"/>
            <a:ext cx="15456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Land/Hydrology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021855" y="5211008"/>
            <a:ext cx="146867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Space Weather</a:t>
            </a:r>
          </a:p>
        </p:txBody>
      </p:sp>
    </p:spTree>
    <p:extLst>
      <p:ext uri="{BB962C8B-B14F-4D97-AF65-F5344CB8AC3E}">
        <p14:creationId xmlns:p14="http://schemas.microsoft.com/office/powerpoint/2010/main" val="259785482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PEN Applications – Meteorolog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02E9C84-E806-4BCB-9177-5DCB69DAE732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16</a:t>
            </a:fld>
            <a:endParaRPr lang="en-US">
              <a:solidFill>
                <a:srgbClr val="FFFFFF"/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5884881"/>
              </p:ext>
            </p:extLst>
          </p:nvPr>
        </p:nvGraphicFramePr>
        <p:xfrm>
          <a:off x="902950" y="618421"/>
          <a:ext cx="3607057" cy="5389951"/>
        </p:xfrm>
        <a:graphic>
          <a:graphicData uri="http://schemas.openxmlformats.org/drawingml/2006/table">
            <a:tbl>
              <a:tblPr/>
              <a:tblGrid>
                <a:gridCol w="3607057">
                  <a:extLst>
                    <a:ext uri="{9D8B030D-6E8A-4147-A177-3AD203B41FA5}">
                      <a16:colId xmlns:a16="http://schemas.microsoft.com/office/drawing/2014/main" val="766084663"/>
                    </a:ext>
                  </a:extLst>
                </a:gridCol>
              </a:tblGrid>
              <a:tr h="10959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viation Weather &amp; Volcanic Ash (WRN-AWX)</a:t>
                      </a:r>
                    </a:p>
                  </a:txBody>
                  <a:tcPr marL="15222" marR="15222" marT="10148" marB="1014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8535775"/>
                  </a:ext>
                </a:extLst>
              </a:tr>
              <a:tr h="198899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lobal NWP</a:t>
                      </a:r>
                    </a:p>
                  </a:txBody>
                  <a:tcPr marL="15222" marR="15222" marT="10148" marB="1014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4005526"/>
                  </a:ext>
                </a:extLst>
              </a:tr>
              <a:tr h="10959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lobal 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WP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T&amp;Q Only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15222" marR="15222" marT="10148" marB="1014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092179"/>
                  </a:ext>
                </a:extLst>
              </a:tr>
              <a:tr h="170321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urricane Prediction</a:t>
                      </a:r>
                    </a:p>
                  </a:txBody>
                  <a:tcPr marL="15222" marR="15222" marT="10148" marB="1014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3045535"/>
                  </a:ext>
                </a:extLst>
              </a:tr>
              <a:tr h="27956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urricane/Tropical Storms (WRN-HUR)</a:t>
                      </a:r>
                    </a:p>
                  </a:txBody>
                  <a:tcPr marL="15222" marR="15222" marT="10148" marB="1014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0464906"/>
                  </a:ext>
                </a:extLst>
              </a:tr>
              <a:tr h="13395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dirty="0">
                          <a:solidFill>
                            <a:srgbClr val="434343"/>
                          </a:solidFill>
                          <a:effectLst/>
                          <a:latin typeface="+mn-lt"/>
                        </a:rPr>
                        <a:t>Marine Weather &amp; Coastal Events (WRN-MWX)</a:t>
                      </a:r>
                      <a:endParaRPr lang="en-US" sz="140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5222" marR="15222" marT="10148" marB="1014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1212717"/>
                  </a:ext>
                </a:extLst>
              </a:tr>
              <a:tr h="30736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ublic Weather (WRN-PWX)</a:t>
                      </a:r>
                    </a:p>
                  </a:txBody>
                  <a:tcPr marL="15222" marR="15222" marT="10148" marB="1014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71260225"/>
                  </a:ext>
                </a:extLst>
              </a:tr>
              <a:tr h="47492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egional NWP, </a:t>
                      </a:r>
                      <a:r>
                        <a:rPr lang="en-US" sz="1400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wcasting</a:t>
                      </a: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/Short-Term Forecasting</a:t>
                      </a:r>
                      <a:endParaRPr lang="en-US" sz="1400" dirty="0">
                        <a:solidFill>
                          <a:srgbClr val="434343"/>
                        </a:solidFill>
                        <a:effectLst/>
                        <a:latin typeface="+mn-lt"/>
                      </a:endParaRPr>
                    </a:p>
                  </a:txBody>
                  <a:tcPr marL="15222" marR="15222" marT="10148" marB="1014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66783436"/>
                  </a:ext>
                </a:extLst>
              </a:tr>
              <a:tr h="24760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evere Storms, Monitoring and Forecasting</a:t>
                      </a:r>
                    </a:p>
                  </a:txBody>
                  <a:tcPr marL="15744" marR="15744" marT="10496" marB="10496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15916134"/>
                  </a:ext>
                </a:extLst>
              </a:tr>
              <a:tr h="36126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evere Weather (WRN-SEV)</a:t>
                      </a:r>
                    </a:p>
                  </a:txBody>
                  <a:tcPr marL="15744" marR="15744" marT="10496" marB="10496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5876254"/>
                  </a:ext>
                </a:extLst>
              </a:tr>
              <a:tr h="25351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inter Weather (WRN-WWX)</a:t>
                      </a:r>
                    </a:p>
                  </a:txBody>
                  <a:tcPr marL="15744" marR="15744" marT="10496" marB="10496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1334182"/>
                  </a:ext>
                </a:extLst>
              </a:tr>
              <a:tr h="25351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+mn-lt"/>
                        </a:rPr>
                        <a:t>Air Quality Monitoring</a:t>
                      </a:r>
                    </a:p>
                  </a:txBody>
                  <a:tcPr marL="15744" marR="15744" marT="10496" marB="10496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3793058"/>
                  </a:ext>
                </a:extLst>
              </a:tr>
              <a:tr h="25351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b="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latin typeface="+mn-lt"/>
                        </a:rPr>
                        <a:t>Aviation Forecasting</a:t>
                      </a:r>
                    </a:p>
                  </a:txBody>
                  <a:tcPr marL="15744" marR="15744" marT="10496" marB="10496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3937067"/>
                  </a:ext>
                </a:extLst>
              </a:tr>
              <a:tr h="253514">
                <a:tc>
                  <a:txBody>
                    <a:bodyPr/>
                    <a:lstStyle/>
                    <a:p>
                      <a:pPr algn="ctr" rtl="0" fontAlgn="ctr"/>
                      <a:r>
                        <a:rPr lang="sv-SE" sz="14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Extra-Tropical Storm Surge Model (ETSS OST-MDL)</a:t>
                      </a:r>
                    </a:p>
                  </a:txBody>
                  <a:tcPr marL="15222" marR="15222" marT="10148" marB="1014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2675234"/>
                  </a:ext>
                </a:extLst>
              </a:tr>
              <a:tr h="25351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Flash Flood Monitoring Program (FFMP OST-MDL)</a:t>
                      </a:r>
                    </a:p>
                  </a:txBody>
                  <a:tcPr marL="15222" marR="15222" marT="10148" marB="1014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7081919"/>
                  </a:ext>
                </a:extLst>
              </a:tr>
              <a:tr h="253514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Global Forecast System Model (GFC NCEP-EMC)</a:t>
                      </a:r>
                    </a:p>
                  </a:txBody>
                  <a:tcPr marL="15222" marR="15222" marT="10148" marB="1014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8075558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7524580"/>
              </p:ext>
            </p:extLst>
          </p:nvPr>
        </p:nvGraphicFramePr>
        <p:xfrm>
          <a:off x="4824897" y="618421"/>
          <a:ext cx="3980932" cy="5587987"/>
        </p:xfrm>
        <a:graphic>
          <a:graphicData uri="http://schemas.openxmlformats.org/drawingml/2006/table">
            <a:tbl>
              <a:tblPr/>
              <a:tblGrid>
                <a:gridCol w="3980932">
                  <a:extLst>
                    <a:ext uri="{9D8B030D-6E8A-4147-A177-3AD203B41FA5}">
                      <a16:colId xmlns:a16="http://schemas.microsoft.com/office/drawing/2014/main" val="142251495"/>
                    </a:ext>
                  </a:extLst>
                </a:gridCol>
              </a:tblGrid>
              <a:tr h="13530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High-Resolution Rapid Refresh Model Predictions: CONUS (HRRR ESRL-GSD)</a:t>
                      </a:r>
                    </a:p>
                  </a:txBody>
                  <a:tcPr marL="15744" marR="15744" marT="10496" marB="10496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2362660"/>
                  </a:ext>
                </a:extLst>
              </a:tr>
              <a:tr h="25610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Hurricane Weather Research and Forecasting Model (HWRF NCEP-EMC)</a:t>
                      </a:r>
                    </a:p>
                  </a:txBody>
                  <a:tcPr marL="15744" marR="15744" marT="10496" marB="10496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9704260"/>
                  </a:ext>
                </a:extLst>
              </a:tr>
              <a:tr h="25610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Localized Aviation Model Output Statistics Program (LAMP OST-MDL)</a:t>
                      </a:r>
                    </a:p>
                  </a:txBody>
                  <a:tcPr marL="15222" marR="15222" marT="10148" marB="1014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66035349"/>
                  </a:ext>
                </a:extLst>
              </a:tr>
              <a:tr h="25610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Long Term and Seasonal Outlooks</a:t>
                      </a:r>
                    </a:p>
                  </a:txBody>
                  <a:tcPr marL="15222" marR="15222" marT="10148" marB="1014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67294077"/>
                  </a:ext>
                </a:extLst>
              </a:tr>
              <a:tr h="25610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North American Mesoscale Model (NAM NCEP-EMC)</a:t>
                      </a:r>
                    </a:p>
                  </a:txBody>
                  <a:tcPr marL="15744" marR="15744" marT="10496" marB="10496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1781313"/>
                  </a:ext>
                </a:extLst>
              </a:tr>
              <a:tr h="25610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Ozone Layer/Hole Monitoring</a:t>
                      </a:r>
                    </a:p>
                  </a:txBody>
                  <a:tcPr marL="15744" marR="15744" marT="10496" marB="10496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8624040"/>
                  </a:ext>
                </a:extLst>
              </a:tr>
              <a:tr h="25610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Probabilistic Tropical Cyclone Storm Surge Exceedance Products Model (PSURGE OST-MDL)</a:t>
                      </a:r>
                    </a:p>
                  </a:txBody>
                  <a:tcPr marL="15744" marR="15744" marT="10496" marB="10496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361957"/>
                  </a:ext>
                </a:extLst>
              </a:tr>
              <a:tr h="25610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Radiation Budget Studies</a:t>
                      </a:r>
                    </a:p>
                  </a:txBody>
                  <a:tcPr marL="15744" marR="15744" marT="10496" marB="10496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5261923"/>
                  </a:ext>
                </a:extLst>
              </a:tr>
              <a:tr h="25610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Rapid Refresh Model (RAP NCEP-EMC)</a:t>
                      </a:r>
                    </a:p>
                  </a:txBody>
                  <a:tcPr marL="15744" marR="15744" marT="10496" marB="10496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1343003"/>
                  </a:ext>
                </a:extLst>
              </a:tr>
              <a:tr h="25610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Real Time Mesoscale Analysis (RTMA NCEP-EMC)</a:t>
                      </a:r>
                    </a:p>
                  </a:txBody>
                  <a:tcPr marL="15744" marR="15744" marT="10496" marB="10496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6456543"/>
                  </a:ext>
                </a:extLst>
              </a:tr>
              <a:tr h="25610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Routine Weather (WRN-RWX)</a:t>
                      </a:r>
                    </a:p>
                  </a:txBody>
                  <a:tcPr marL="15744" marR="15744" marT="10496" marB="10496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04560718"/>
                  </a:ext>
                </a:extLst>
              </a:tr>
              <a:tr h="25610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System for Convection Analysis and </a:t>
                      </a:r>
                      <a:r>
                        <a:rPr lang="en-US" sz="1600" dirty="0" err="1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Nowcasting</a:t>
                      </a:r>
                      <a:r>
                        <a:rPr lang="en-US" sz="16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 (SCAN OST-MDL)</a:t>
                      </a:r>
                    </a:p>
                  </a:txBody>
                  <a:tcPr marL="15744" marR="15744" marT="10496" marB="10496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410575"/>
                  </a:ext>
                </a:extLst>
              </a:tr>
              <a:tr h="25610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Tsunami (WRN-TSU)</a:t>
                      </a:r>
                    </a:p>
                  </a:txBody>
                  <a:tcPr marL="15744" marR="15744" marT="10496" marB="10496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95850666"/>
                  </a:ext>
                </a:extLst>
              </a:tr>
              <a:tr h="25610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Volcanic Ash Monitoring</a:t>
                      </a:r>
                    </a:p>
                  </a:txBody>
                  <a:tcPr marL="15744" marR="15744" marT="10496" marB="10496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8044758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782197" y="5991292"/>
            <a:ext cx="290496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urrently in ASPEN</a:t>
            </a:r>
          </a:p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ossible future addition to ASPEN</a:t>
            </a:r>
          </a:p>
        </p:txBody>
      </p:sp>
    </p:spTree>
    <p:extLst>
      <p:ext uri="{BB962C8B-B14F-4D97-AF65-F5344CB8AC3E}">
        <p14:creationId xmlns:p14="http://schemas.microsoft.com/office/powerpoint/2010/main" val="418099752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PEN Applications - Oceanograph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02E9C84-E806-4BCB-9177-5DCB69DAE732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17</a:t>
            </a:fld>
            <a:endParaRPr lang="en-US">
              <a:solidFill>
                <a:srgbClr val="FFFFFF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6238138"/>
              </p:ext>
            </p:extLst>
          </p:nvPr>
        </p:nvGraphicFramePr>
        <p:xfrm>
          <a:off x="588061" y="521588"/>
          <a:ext cx="4371398" cy="5486453"/>
        </p:xfrm>
        <a:graphic>
          <a:graphicData uri="http://schemas.openxmlformats.org/drawingml/2006/table">
            <a:tbl>
              <a:tblPr/>
              <a:tblGrid>
                <a:gridCol w="4371398">
                  <a:extLst>
                    <a:ext uri="{9D8B030D-6E8A-4147-A177-3AD203B41FA5}">
                      <a16:colId xmlns:a16="http://schemas.microsoft.com/office/drawing/2014/main" val="2325125280"/>
                    </a:ext>
                  </a:extLst>
                </a:gridCol>
              </a:tblGrid>
              <a:tr h="29433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Coastal Water Quality (RC-CWQ)</a:t>
                      </a:r>
                    </a:p>
                  </a:txBody>
                  <a:tcPr marL="18094" marR="18094" marT="12063" marB="12063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7472449"/>
                  </a:ext>
                </a:extLst>
              </a:tr>
              <a:tr h="42943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Ecosystem Monitoring, Assessment &amp;</a:t>
                      </a:r>
                      <a:b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Forecast (HO-ECO)</a:t>
                      </a:r>
                    </a:p>
                  </a:txBody>
                  <a:tcPr marL="18094" marR="18094" marT="12063" marB="12063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2696680"/>
                  </a:ext>
                </a:extLst>
              </a:tr>
              <a:tr h="42943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Fisheries Monitoring, Assessment &amp;</a:t>
                      </a:r>
                      <a:b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Forecast (HO-FMA)</a:t>
                      </a:r>
                    </a:p>
                  </a:txBody>
                  <a:tcPr marL="18094" marR="18094" marT="12063" marB="12063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5034093"/>
                  </a:ext>
                </a:extLst>
              </a:tr>
              <a:tr h="564539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Habitat Monitoring &amp;</a:t>
                      </a:r>
                      <a:b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Assessment (HO-HAB)</a:t>
                      </a:r>
                    </a:p>
                  </a:txBody>
                  <a:tcPr marL="18094" marR="18094" marT="12063" marB="12063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4223115"/>
                  </a:ext>
                </a:extLst>
              </a:tr>
              <a:tr h="29433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Healthy Ocean Science Services and Stewardship</a:t>
                      </a:r>
                      <a:r>
                        <a:rPr lang="en-US" sz="1400" baseline="0" dirty="0">
                          <a:solidFill>
                            <a:schemeClr val="tx1"/>
                          </a:solidFill>
                          <a:effectLst/>
                        </a:rPr>
                        <a:t> Advances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18094" marR="18094" marT="12063" marB="12063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9480801"/>
                  </a:ext>
                </a:extLst>
              </a:tr>
              <a:tr h="29433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Integrated Water and Prediction</a:t>
                      </a:r>
                      <a:r>
                        <a:rPr lang="en-US" sz="1400" baseline="0" dirty="0">
                          <a:solidFill>
                            <a:schemeClr val="tx1"/>
                          </a:solidFill>
                          <a:effectLst/>
                        </a:rPr>
                        <a:t> Information (WRN-IWPI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</a:endParaRPr>
                    </a:p>
                  </a:txBody>
                  <a:tcPr marL="18094" marR="18094" marT="12063" marB="12063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5588070"/>
                  </a:ext>
                </a:extLst>
              </a:tr>
              <a:tr h="294332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Marine Transportation (RC-MTS)</a:t>
                      </a:r>
                    </a:p>
                  </a:txBody>
                  <a:tcPr marL="18094" marR="18094" marT="12063" marB="12063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1008655"/>
                  </a:ext>
                </a:extLst>
              </a:tr>
              <a:tr h="294332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Planning &amp; Management (RC-PAM)</a:t>
                      </a:r>
                    </a:p>
                  </a:txBody>
                  <a:tcPr marL="18094" marR="18094" marT="12063" marB="12063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1383112"/>
                  </a:ext>
                </a:extLst>
              </a:tr>
              <a:tr h="294332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Protected Species Monitoring (HO-PSM)</a:t>
                      </a:r>
                    </a:p>
                  </a:txBody>
                  <a:tcPr marL="18094" marR="18094" marT="12063" marB="12063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6145890"/>
                  </a:ext>
                </a:extLst>
              </a:tr>
              <a:tr h="294332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Resilient Coasts Science Services and Stewardship Advances</a:t>
                      </a:r>
                    </a:p>
                  </a:txBody>
                  <a:tcPr marL="18094" marR="18094" marT="12063" marB="12063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2749945"/>
                  </a:ext>
                </a:extLst>
              </a:tr>
              <a:tr h="294332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</a:rPr>
                        <a:t>Resilience to Coastal Hazards &amp; Climate Change (RC-RCC)</a:t>
                      </a:r>
                    </a:p>
                  </a:txBody>
                  <a:tcPr marL="18094" marR="18094" marT="12063" marB="12063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2045783"/>
                  </a:ext>
                </a:extLst>
              </a:tr>
              <a:tr h="29433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Coastal Zone Management</a:t>
                      </a:r>
                    </a:p>
                  </a:txBody>
                  <a:tcPr marL="18094" marR="18094" marT="12063" marB="12063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5300613"/>
                  </a:ext>
                </a:extLst>
              </a:tr>
              <a:tr h="29433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Coral Reef Monitoring</a:t>
                      </a:r>
                    </a:p>
                  </a:txBody>
                  <a:tcPr marL="18094" marR="18094" marT="12063" marB="12063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9585731"/>
                  </a:ext>
                </a:extLst>
              </a:tr>
              <a:tr h="29433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Global Ocean Data Assimilation System Model (GODAS NCEP-EMC)</a:t>
                      </a:r>
                    </a:p>
                  </a:txBody>
                  <a:tcPr marL="18094" marR="18094" marT="12063" marB="12063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6379141"/>
                  </a:ext>
                </a:extLst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7988198"/>
              </p:ext>
            </p:extLst>
          </p:nvPr>
        </p:nvGraphicFramePr>
        <p:xfrm>
          <a:off x="5287817" y="519313"/>
          <a:ext cx="3677951" cy="5603927"/>
        </p:xfrm>
        <a:graphic>
          <a:graphicData uri="http://schemas.openxmlformats.org/drawingml/2006/table">
            <a:tbl>
              <a:tblPr/>
              <a:tblGrid>
                <a:gridCol w="3677951">
                  <a:extLst>
                    <a:ext uri="{9D8B030D-6E8A-4147-A177-3AD203B41FA5}">
                      <a16:colId xmlns:a16="http://schemas.microsoft.com/office/drawing/2014/main" val="800543154"/>
                    </a:ext>
                  </a:extLst>
                </a:gridCol>
              </a:tblGrid>
              <a:tr h="14292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Global Ocean Forecasting</a:t>
                      </a:r>
                    </a:p>
                  </a:txBody>
                  <a:tcPr marL="16241" marR="16241" marT="10828" marB="1082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86475730"/>
                  </a:ext>
                </a:extLst>
              </a:tr>
              <a:tr h="14292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Harmful Algal Bloom Monitoring</a:t>
                      </a:r>
                    </a:p>
                  </a:txBody>
                  <a:tcPr marL="16241" marR="16241" marT="10828" marB="1082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88684736"/>
                  </a:ext>
                </a:extLst>
              </a:tr>
              <a:tr h="38546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Marine Weather Forecasting</a:t>
                      </a:r>
                    </a:p>
                  </a:txBody>
                  <a:tcPr marL="16241" marR="16241" marT="10828" marB="1082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8553823"/>
                  </a:ext>
                </a:extLst>
              </a:tr>
              <a:tr h="26419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Nearshore Wave Prediction System (NWPS NCEP-EMC)</a:t>
                      </a:r>
                    </a:p>
                  </a:txBody>
                  <a:tcPr marL="16241" marR="16241" marT="10828" marB="1082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5081874"/>
                  </a:ext>
                </a:extLst>
              </a:tr>
              <a:tr h="264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Ocean Biology Monitoring</a:t>
                      </a:r>
                    </a:p>
                  </a:txBody>
                  <a:tcPr marL="18094" marR="18094" marT="12063" marB="12063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7125821"/>
                  </a:ext>
                </a:extLst>
              </a:tr>
              <a:tr h="264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Oil Spill Monitoring</a:t>
                      </a:r>
                    </a:p>
                  </a:txBody>
                  <a:tcPr marL="18094" marR="18094" marT="12063" marB="12063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9981122"/>
                  </a:ext>
                </a:extLst>
              </a:tr>
              <a:tr h="225266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Polar Sea Ice Model</a:t>
                      </a:r>
                    </a:p>
                  </a:txBody>
                  <a:tcPr marL="16241" marR="16241" marT="10828" marB="1082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0070188"/>
                  </a:ext>
                </a:extLst>
              </a:tr>
              <a:tr h="62800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Real-Time Ocean Forecast System: Global (</a:t>
                      </a:r>
                      <a:r>
                        <a:rPr lang="en-US" sz="1400" dirty="0" err="1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RTOFSGbl</a:t>
                      </a:r>
                      <a:r>
                        <a:rPr lang="en-US" sz="14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 NCEP-EMC)</a:t>
                      </a:r>
                    </a:p>
                  </a:txBody>
                  <a:tcPr marL="16241" marR="16241" marT="10828" marB="1082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9291676"/>
                  </a:ext>
                </a:extLst>
              </a:tr>
              <a:tr h="385465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Real-Time Ocean Forecast System: High Resolution Basin (</a:t>
                      </a:r>
                      <a:r>
                        <a:rPr lang="en-US" sz="1400" dirty="0" err="1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RTOFSBsn</a:t>
                      </a:r>
                      <a:r>
                        <a:rPr lang="en-US" sz="14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 NCEP-EMC)</a:t>
                      </a:r>
                    </a:p>
                  </a:txBody>
                  <a:tcPr marL="16241" marR="16241" marT="10828" marB="1082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7644437"/>
                  </a:ext>
                </a:extLst>
              </a:tr>
              <a:tr h="50673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Sea Ice Analysis: Concentration, Global (</a:t>
                      </a:r>
                      <a:r>
                        <a:rPr lang="en-US" sz="1400" dirty="0" err="1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SeaIceConcAnlGbl</a:t>
                      </a:r>
                      <a:r>
                        <a:rPr lang="en-US" sz="14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 NCEP-EMC)</a:t>
                      </a:r>
                    </a:p>
                  </a:txBody>
                  <a:tcPr marL="16241" marR="16241" marT="10828" marB="1082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3394032"/>
                  </a:ext>
                </a:extLst>
              </a:tr>
              <a:tr h="1429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Sea Ice Monitoring</a:t>
                      </a:r>
                    </a:p>
                  </a:txBody>
                  <a:tcPr marL="16241" marR="16241" marT="10828" marB="1082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0935886"/>
                  </a:ext>
                </a:extLst>
              </a:tr>
              <a:tr h="50673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Sea Surface Temperature: Real-Time, Global (SSTRTG NCEP-EMC)</a:t>
                      </a:r>
                    </a:p>
                  </a:txBody>
                  <a:tcPr marL="16241" marR="16241" marT="10828" marB="1082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7290462"/>
                  </a:ext>
                </a:extLst>
              </a:tr>
              <a:tr h="264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Search and Rescue Operations</a:t>
                      </a:r>
                    </a:p>
                  </a:txBody>
                  <a:tcPr marL="16241" marR="16241" marT="10828" marB="1082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6529239"/>
                  </a:ext>
                </a:extLst>
              </a:tr>
              <a:tr h="26419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Water Quality Monitoring</a:t>
                      </a:r>
                    </a:p>
                  </a:txBody>
                  <a:tcPr marL="16241" marR="16241" marT="10828" marB="1082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6485693"/>
                  </a:ext>
                </a:extLst>
              </a:tr>
              <a:tr h="14292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Wave Forecasting</a:t>
                      </a:r>
                    </a:p>
                  </a:txBody>
                  <a:tcPr marL="16241" marR="16241" marT="10828" marB="1082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4529136"/>
                  </a:ext>
                </a:extLst>
              </a:tr>
              <a:tr h="38546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dirty="0"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</a:rPr>
                        <a:t>WAVEWATCH III Wave Model: Global (WAMIII NCEP-EMC)</a:t>
                      </a:r>
                    </a:p>
                  </a:txBody>
                  <a:tcPr marL="16241" marR="16241" marT="10828" marB="10828" anchor="ctr">
                    <a:lnL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CCCC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44842"/>
                  </a:ext>
                </a:extLst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782197" y="5991292"/>
            <a:ext cx="290496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Currently in ASPEN</a:t>
            </a:r>
          </a:p>
          <a:p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ossible future addition to ASPEN</a:t>
            </a:r>
          </a:p>
        </p:txBody>
      </p:sp>
    </p:spTree>
    <p:extLst>
      <p:ext uri="{BB962C8B-B14F-4D97-AF65-F5344CB8AC3E}">
        <p14:creationId xmlns:p14="http://schemas.microsoft.com/office/powerpoint/2010/main" val="15921109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What is ASPEN?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57200" y="1057619"/>
            <a:ext cx="8229600" cy="5046001"/>
          </a:xfrm>
        </p:spPr>
        <p:txBody>
          <a:bodyPr/>
          <a:lstStyle/>
          <a:p>
            <a:pPr marL="514350" indent="-285750">
              <a:buFont typeface="Arial" panose="020B0604020202020204" pitchFamily="34" charset="0"/>
              <a:buChar char="•"/>
            </a:pPr>
            <a:r>
              <a:rPr lang="en-US" sz="2000" dirty="0"/>
              <a:t>A dynamic and user friendly tool that rapidly assesses the value of environmental data obtained from observing systems. </a:t>
            </a:r>
          </a:p>
          <a:p>
            <a:pPr marL="514350" indent="-285750">
              <a:buFont typeface="Arial" panose="020B0604020202020204" pitchFamily="34" charset="0"/>
              <a:buChar char="•"/>
            </a:pPr>
            <a:r>
              <a:rPr lang="en-US" sz="2000" dirty="0"/>
              <a:t>It provides numerical scores of the benefits of existing and proposed sensors and constellations to a single or group of applications. </a:t>
            </a:r>
          </a:p>
          <a:p>
            <a:pPr marL="514350" indent="-285750">
              <a:buFont typeface="Arial" panose="020B0604020202020204" pitchFamily="34" charset="0"/>
              <a:buChar char="•"/>
            </a:pPr>
            <a:r>
              <a:rPr lang="en-US" sz="2000" dirty="0"/>
              <a:t>It addresses the technical and scientific performance factors and provides also a benefit/cost ratio value assessment. </a:t>
            </a:r>
          </a:p>
          <a:p>
            <a:pPr marL="514350" indent="-285750">
              <a:buFont typeface="Arial" panose="020B0604020202020204" pitchFamily="34" charset="0"/>
              <a:buChar char="•"/>
            </a:pPr>
            <a:r>
              <a:rPr lang="en-US" sz="2000" dirty="0"/>
              <a:t>It is designed to be a science-based approach to perform comparative assessment of observation systems to support the decision process that leads to the design, selection and ultimately deployment of new space assets.</a:t>
            </a:r>
          </a:p>
          <a:p>
            <a:pPr marL="228600" indent="0"/>
            <a:endParaRPr lang="en-US" sz="20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F1173C9-74C8-4E36-8E24-2763E0DABE74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61099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636" name="Object 2563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70" y="1"/>
          <a:ext cx="15874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5636" name="Object 2563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70" y="1"/>
                        <a:ext cx="158741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270" y="1"/>
            <a:ext cx="158741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b="1" dirty="0">
              <a:solidFill>
                <a:schemeClr val="tx1"/>
              </a:solidFill>
              <a:latin typeface="Candara" panose="020E0502030303020204" pitchFamily="34" charset="0"/>
              <a:ea typeface="+mj-ea"/>
              <a:cs typeface="+mj-cs"/>
              <a:sym typeface="Candara" panose="020E0502030303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3085" y="234864"/>
            <a:ext cx="7538715" cy="43088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800" dirty="0"/>
              <a:t>ASPEN methodology</a:t>
            </a:r>
          </a:p>
        </p:txBody>
      </p:sp>
      <p:sp>
        <p:nvSpPr>
          <p:cNvPr id="98" name="3. Unit of measure" hidden="1"/>
          <p:cNvSpPr txBox="1">
            <a:spLocks noChangeArrowheads="1"/>
          </p:cNvSpPr>
          <p:nvPr/>
        </p:nvSpPr>
        <p:spPr bwMode="auto">
          <a:xfrm>
            <a:off x="121750" y="542616"/>
            <a:ext cx="8793595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EC9932F-E66E-4633-BBAE-C70530A9AC8A}"/>
              </a:ext>
            </a:extLst>
          </p:cNvPr>
          <p:cNvSpPr txBox="1"/>
          <p:nvPr/>
        </p:nvSpPr>
        <p:spPr>
          <a:xfrm>
            <a:off x="823394" y="1067276"/>
            <a:ext cx="7701174" cy="36933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6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panose="020B0604020202020204" pitchFamily="34" charset="0"/>
              <a:buChar char="–"/>
              <a:defRPr lang="x-none" sz="16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x-none" sz="16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panose="020B0604020202020204" pitchFamily="34" charset="0"/>
              <a:buChar char="-"/>
              <a:defRPr lang="x-none" sz="16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600" baseline="0">
                <a:latin typeface="+mn-lt"/>
              </a:defRPr>
            </a:lvl9pPr>
          </a:lstStyle>
          <a:p>
            <a:r>
              <a:rPr lang="en-US" sz="2000" dirty="0"/>
              <a:t>Collect sensor capabilities, application requirements and application priorities through </a:t>
            </a:r>
            <a:r>
              <a:rPr lang="en-US" sz="2000" b="1" dirty="0"/>
              <a:t>expert elicitation</a:t>
            </a:r>
            <a:r>
              <a:rPr lang="en-US" sz="2000" dirty="0"/>
              <a:t>.</a:t>
            </a:r>
          </a:p>
          <a:p>
            <a:endParaRPr lang="en-US" sz="2000" dirty="0"/>
          </a:p>
          <a:p>
            <a:r>
              <a:rPr lang="en-US" sz="2000" b="1" dirty="0"/>
              <a:t>Normalize</a:t>
            </a:r>
            <a:r>
              <a:rPr lang="en-US" sz="2000" dirty="0"/>
              <a:t> the sensor capabilities by the application requirements.</a:t>
            </a:r>
          </a:p>
          <a:p>
            <a:endParaRPr lang="en-US" sz="2000" dirty="0"/>
          </a:p>
          <a:p>
            <a:r>
              <a:rPr lang="en-US" sz="2000" dirty="0"/>
              <a:t>Calculate the </a:t>
            </a:r>
            <a:r>
              <a:rPr lang="en-US" sz="2000" b="1" dirty="0"/>
              <a:t>benefit</a:t>
            </a:r>
            <a:r>
              <a:rPr lang="en-US" sz="2000" dirty="0"/>
              <a:t> of the sensor to the application as a </a:t>
            </a:r>
            <a:r>
              <a:rPr lang="en-US" sz="2000" b="1" dirty="0"/>
              <a:t>weighted average.</a:t>
            </a:r>
          </a:p>
          <a:p>
            <a:endParaRPr lang="en-US" sz="2000" dirty="0"/>
          </a:p>
          <a:p>
            <a:r>
              <a:rPr lang="en-US" sz="2000" b="1" dirty="0"/>
              <a:t>Combine </a:t>
            </a:r>
            <a:r>
              <a:rPr lang="en-US" sz="2000" dirty="0"/>
              <a:t>benefits for categories of application or for all of NOAA.</a:t>
            </a:r>
          </a:p>
          <a:p>
            <a:endParaRPr lang="en-US" sz="2000" dirty="0"/>
          </a:p>
          <a:p>
            <a:r>
              <a:rPr lang="en-US" sz="2000" dirty="0"/>
              <a:t>Calculate “</a:t>
            </a:r>
            <a:r>
              <a:rPr lang="en-US" sz="2000" b="1" dirty="0"/>
              <a:t>values”</a:t>
            </a:r>
            <a:r>
              <a:rPr lang="en-US" sz="2000" dirty="0"/>
              <a:t> as benefits divided by sensor costs.</a:t>
            </a:r>
          </a:p>
          <a:p>
            <a:endParaRPr lang="en-US" sz="2000" dirty="0"/>
          </a:p>
        </p:txBody>
      </p:sp>
      <p:sp>
        <p:nvSpPr>
          <p:cNvPr id="3" name="TextBox 2"/>
          <p:cNvSpPr txBox="1"/>
          <p:nvPr/>
        </p:nvSpPr>
        <p:spPr>
          <a:xfrm>
            <a:off x="705166" y="4994239"/>
            <a:ext cx="7819402" cy="923330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r>
              <a:rPr lang="en-US" sz="1800" b="1" i="1" dirty="0">
                <a:solidFill>
                  <a:schemeClr val="tx1"/>
                </a:solidFill>
              </a:rPr>
              <a:t>The quality of ASPEN results strongly depend on the quality of the ASPEN inputs — sensor capabilities, application requirements, and priorities.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600886" y="6415677"/>
            <a:ext cx="2103120" cy="342900"/>
          </a:xfrm>
        </p:spPr>
        <p:txBody>
          <a:bodyPr/>
          <a:lstStyle/>
          <a:p>
            <a:fld id="{B6F15528-21DE-4FAA-801E-634DDDAF4B2B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66554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PEN Example: Mission Sensor/Constellation Based Benefit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/>
          <a:srcRect l="31043" t="27022" r="9967" b="24391"/>
          <a:stretch/>
        </p:blipFill>
        <p:spPr>
          <a:xfrm>
            <a:off x="2774185" y="665452"/>
            <a:ext cx="5855466" cy="271275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/>
          <a:srcRect l="31063" t="23000" r="8386" b="28312"/>
          <a:stretch/>
        </p:blipFill>
        <p:spPr>
          <a:xfrm>
            <a:off x="2563707" y="3326701"/>
            <a:ext cx="6276421" cy="283870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E4FAAD2-B828-4687-8C7F-505AAD8867FB}"/>
              </a:ext>
            </a:extLst>
          </p:cNvPr>
          <p:cNvSpPr txBox="1"/>
          <p:nvPr/>
        </p:nvSpPr>
        <p:spPr>
          <a:xfrm>
            <a:off x="475266" y="1353345"/>
            <a:ext cx="2079523" cy="224676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b="1" dirty="0">
                <a:solidFill>
                  <a:schemeClr val="tx1"/>
                </a:solidFill>
              </a:rPr>
              <a:t>Comparison of values/benefits hypothetical </a:t>
            </a:r>
            <a:r>
              <a:rPr lang="en-US" b="1" dirty="0" err="1">
                <a:solidFill>
                  <a:schemeClr val="tx1"/>
                </a:solidFill>
              </a:rPr>
              <a:t>Smallsat</a:t>
            </a:r>
            <a:r>
              <a:rPr lang="en-US" b="1" dirty="0">
                <a:solidFill>
                  <a:schemeClr val="tx1"/>
                </a:solidFill>
              </a:rPr>
              <a:t> constellations to help answer the question of Quality vs Quantity for all applications within ASPEN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CA640F7-B3DF-4ADF-8A9F-1971B95290C7}"/>
              </a:ext>
            </a:extLst>
          </p:cNvPr>
          <p:cNvSpPr txBox="1"/>
          <p:nvPr/>
        </p:nvSpPr>
        <p:spPr>
          <a:xfrm>
            <a:off x="901497" y="6109653"/>
            <a:ext cx="7728154" cy="523220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r>
              <a:rPr lang="en-US" b="1" dirty="0"/>
              <a:t>Bottom Line: </a:t>
            </a:r>
            <a:r>
              <a:rPr lang="en-US" dirty="0"/>
              <a:t>Multiple </a:t>
            </a:r>
            <a:r>
              <a:rPr lang="en-US" dirty="0" err="1"/>
              <a:t>Smallsats</a:t>
            </a:r>
            <a:r>
              <a:rPr lang="en-US" dirty="0"/>
              <a:t> in a constellation is beneficial for the NOAA mission, but more satellites does not always equal the best value.</a:t>
            </a:r>
          </a:p>
        </p:txBody>
      </p:sp>
    </p:spTree>
    <p:extLst>
      <p:ext uri="{BB962C8B-B14F-4D97-AF65-F5344CB8AC3E}">
        <p14:creationId xmlns:p14="http://schemas.microsoft.com/office/powerpoint/2010/main" val="730599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5689" y="107639"/>
            <a:ext cx="7967878" cy="467988"/>
          </a:xfrm>
        </p:spPr>
        <p:txBody>
          <a:bodyPr/>
          <a:lstStyle/>
          <a:p>
            <a:pPr marL="285750" indent="-285750"/>
            <a:r>
              <a:rPr lang="en-US" dirty="0">
                <a:solidFill>
                  <a:schemeClr val="bg2">
                    <a:lumMod val="60000"/>
                    <a:lumOff val="40000"/>
                  </a:schemeClr>
                </a:solidFill>
              </a:rPr>
              <a:t>Constellations Assessment: Case of 17 Constellations (CONUS Views), Assessed against 5 apps rolled up to NOAA mis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02E9C84-E806-4BCB-9177-5DCB69DAE732}" type="slidenum">
              <a:rPr lang="en-US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pPr>
                <a:defRPr/>
              </a:pPr>
              <a:t>5</a:t>
            </a:fld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93437" y="5854720"/>
            <a:ext cx="8750563" cy="523220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Bottom Line: Highest Value: constellations: 3,8 and 20. Constellation 16 seems to have the lowest </a:t>
            </a:r>
            <a:r>
              <a:rPr lang="en-US" dirty="0">
                <a:solidFill>
                  <a:schemeClr val="tx1"/>
                </a:solidFill>
              </a:rPr>
              <a:t>benefit to cost </a:t>
            </a:r>
            <a:r>
              <a:rPr lang="en-US" dirty="0"/>
              <a:t>ratio. Constellation 1 has high value but not #1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45689" y="1050919"/>
            <a:ext cx="2079523" cy="4185761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omparison of 17 out of 22 constellations</a:t>
            </a:r>
          </a:p>
          <a:p>
            <a:endParaRPr lang="en-US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buFontTx/>
              <a:buChar char="-"/>
            </a:pP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ONUS View for all constellations</a:t>
            </a:r>
          </a:p>
          <a:p>
            <a:endParaRPr lang="en-US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buFontTx/>
              <a:buChar char="-"/>
            </a:pP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pplications selected: Fire, GNWP, Hurricane, Severe Storms, Coast Water Quality</a:t>
            </a:r>
          </a:p>
          <a:p>
            <a:pPr marL="285750" indent="-285750">
              <a:buFontTx/>
              <a:buChar char="-"/>
            </a:pPr>
            <a:endParaRPr lang="en-US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buFontTx/>
              <a:buChar char="-"/>
            </a:pP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Rolled up to NOAA Mission-level benefit</a:t>
            </a:r>
          </a:p>
          <a:p>
            <a:pPr marL="285750" indent="-285750">
              <a:buFontTx/>
              <a:buChar char="-"/>
            </a:pPr>
            <a:endParaRPr lang="en-US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285750" indent="-285750">
              <a:buFontTx/>
              <a:buChar char="-"/>
            </a:pPr>
            <a:endParaRPr lang="en-US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654710" y="735972"/>
            <a:ext cx="6209071" cy="3693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/>
              <a:t>Assessment of 17 constellations (</a:t>
            </a:r>
            <a:r>
              <a:rPr lang="en-US" sz="1800" b="1" u="sng" dirty="0"/>
              <a:t>CONUS View</a:t>
            </a:r>
            <a:r>
              <a:rPr lang="en-US" sz="1800" b="1" dirty="0"/>
              <a:t>)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43" r="1240" b="50329"/>
          <a:stretch/>
        </p:blipFill>
        <p:spPr>
          <a:xfrm>
            <a:off x="2654710" y="1235080"/>
            <a:ext cx="5707625" cy="146902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0" t="15716" r="894" b="18177"/>
          <a:stretch/>
        </p:blipFill>
        <p:spPr>
          <a:xfrm>
            <a:off x="2654710" y="2833881"/>
            <a:ext cx="5856046" cy="2545547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5557237" y="1308843"/>
            <a:ext cx="742511" cy="307777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Benefit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606931" y="2717440"/>
            <a:ext cx="643125" cy="307777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Value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 flipH="1">
            <a:off x="5964384" y="1530840"/>
            <a:ext cx="1057970" cy="308351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 flipH="1">
            <a:off x="5592647" y="1509895"/>
            <a:ext cx="1465117" cy="301336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>
          <a:xfrm flipH="1">
            <a:off x="5360704" y="1496560"/>
            <a:ext cx="1691148" cy="286710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/>
          <p:cNvSpPr txBox="1"/>
          <p:nvPr/>
        </p:nvSpPr>
        <p:spPr>
          <a:xfrm>
            <a:off x="7098322" y="1383323"/>
            <a:ext cx="12640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accent4"/>
                </a:solidFill>
              </a:rPr>
              <a:t>Ocean Color and Atmospheric Composition added</a:t>
            </a:r>
          </a:p>
        </p:txBody>
      </p:sp>
      <p:cxnSp>
        <p:nvCxnSpPr>
          <p:cNvPr id="22" name="Straight Arrow Connector 21"/>
          <p:cNvCxnSpPr/>
          <p:nvPr/>
        </p:nvCxnSpPr>
        <p:spPr>
          <a:xfrm flipH="1">
            <a:off x="6096000" y="2826928"/>
            <a:ext cx="972824" cy="314730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7075660" y="2805983"/>
            <a:ext cx="52215" cy="282808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 flipH="1">
            <a:off x="5251450" y="2813831"/>
            <a:ext cx="1833735" cy="327827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/>
        </p:nvSpPr>
        <p:spPr>
          <a:xfrm>
            <a:off x="7098322" y="2654173"/>
            <a:ext cx="14959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accent4"/>
                </a:solidFill>
              </a:rPr>
              <a:t>Imager, Sounder, and Lightning Mapper only</a:t>
            </a:r>
          </a:p>
        </p:txBody>
      </p:sp>
      <p:cxnSp>
        <p:nvCxnSpPr>
          <p:cNvPr id="36" name="Straight Arrow Connector 35"/>
          <p:cNvCxnSpPr/>
          <p:nvPr/>
        </p:nvCxnSpPr>
        <p:spPr>
          <a:xfrm>
            <a:off x="4326494" y="1839191"/>
            <a:ext cx="406268" cy="140637"/>
          </a:xfrm>
          <a:prstGeom prst="straightConnector1">
            <a:avLst/>
          </a:prstGeom>
          <a:ln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3597753" y="1640579"/>
            <a:ext cx="126401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solidFill>
                  <a:schemeClr val="accent4"/>
                </a:solidFill>
              </a:rPr>
              <a:t>Sounder added</a:t>
            </a:r>
          </a:p>
        </p:txBody>
      </p:sp>
    </p:spTree>
    <p:extLst>
      <p:ext uri="{BB962C8B-B14F-4D97-AF65-F5344CB8AC3E}">
        <p14:creationId xmlns:p14="http://schemas.microsoft.com/office/powerpoint/2010/main" val="22414406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Plans for the Futur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57200" y="1266940"/>
            <a:ext cx="8229600" cy="4836680"/>
          </a:xfrm>
        </p:spPr>
        <p:txBody>
          <a:bodyPr/>
          <a:lstStyle/>
          <a:p>
            <a:r>
              <a:rPr lang="en-US" sz="2400" dirty="0"/>
              <a:t>New features to ASPEN will include:</a:t>
            </a:r>
          </a:p>
          <a:p>
            <a:pPr marL="514350" indent="-285750">
              <a:buFont typeface="Arial" panose="020B0604020202020204" pitchFamily="34" charset="0"/>
              <a:buChar char="•"/>
            </a:pPr>
            <a:r>
              <a:rPr lang="en-US" sz="2400" dirty="0"/>
              <a:t>Cost sliders </a:t>
            </a:r>
          </a:p>
          <a:p>
            <a:pPr marL="514350" indent="-285750">
              <a:buFont typeface="Arial" panose="020B0604020202020204" pitchFamily="34" charset="0"/>
              <a:buChar char="•"/>
            </a:pPr>
            <a:r>
              <a:rPr lang="en-US" sz="2400" dirty="0"/>
              <a:t>Automatic report generation</a:t>
            </a:r>
          </a:p>
          <a:p>
            <a:pPr marL="514350" indent="-285750">
              <a:buFont typeface="Arial" panose="020B0604020202020204" pitchFamily="34" charset="0"/>
              <a:buChar char="•"/>
            </a:pPr>
            <a:r>
              <a:rPr lang="en-US" sz="2400" dirty="0"/>
              <a:t>Display uncertainty assessments</a:t>
            </a:r>
          </a:p>
          <a:p>
            <a:pPr marL="514350" indent="-285750">
              <a:buFont typeface="Arial" panose="020B0604020202020204" pitchFamily="34" charset="0"/>
              <a:buChar char="•"/>
            </a:pPr>
            <a:r>
              <a:rPr lang="en-US" sz="2400" dirty="0"/>
              <a:t>Additional SCP, ARR, and ATP tables</a:t>
            </a:r>
          </a:p>
          <a:p>
            <a:pPr marL="514350" indent="-28575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228600" indent="0"/>
            <a:r>
              <a:rPr lang="en-US" sz="2400" dirty="0"/>
              <a:t>Other Plans:</a:t>
            </a:r>
          </a:p>
          <a:p>
            <a:pPr marL="571500" indent="-342900">
              <a:buFont typeface="Arial" panose="020B0604020202020204" pitchFamily="34" charset="0"/>
              <a:buChar char="•"/>
            </a:pPr>
            <a:r>
              <a:rPr lang="en-US" sz="2400" dirty="0"/>
              <a:t>Publication in progress</a:t>
            </a:r>
          </a:p>
          <a:p>
            <a:pPr marL="571500" indent="-342900">
              <a:buFont typeface="Arial" panose="020B0604020202020204" pitchFamily="34" charset="0"/>
              <a:buChar char="•"/>
            </a:pPr>
            <a:r>
              <a:rPr lang="en-US" sz="2400" dirty="0"/>
              <a:t>Review of inputs and methodology by external expertis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F1173C9-74C8-4E36-8E24-2763E0DABE74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6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97786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0155" y="54079"/>
            <a:ext cx="6418263" cy="898525"/>
          </a:xfrm>
        </p:spPr>
        <p:txBody>
          <a:bodyPr/>
          <a:lstStyle/>
          <a:p>
            <a:r>
              <a:rPr lang="en-US" dirty="0"/>
              <a:t>Conclus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28C4640-110B-43E6-89F7-017480D31C02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7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221226" y="503341"/>
            <a:ext cx="8922774" cy="59123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514350" indent="-285750">
              <a:buSzPct val="100000"/>
              <a:buFont typeface="Wingdings" panose="05000000000000000000" pitchFamily="2" charset="2"/>
              <a:buChar char="v"/>
            </a:pPr>
            <a:r>
              <a:rPr lang="en-US" dirty="0">
                <a:latin typeface="+mj-lt"/>
              </a:rPr>
              <a:t>ASPEN is a tool to assess observing systems. It was developed with contributions from all other parts of NESDIS and major contributions from NOAA users</a:t>
            </a:r>
          </a:p>
          <a:p>
            <a:pPr marL="514350" indent="-285750">
              <a:buSzPct val="100000"/>
              <a:buFont typeface="Wingdings" panose="05000000000000000000" pitchFamily="2" charset="2"/>
              <a:buChar char="v"/>
            </a:pPr>
            <a:endParaRPr lang="en-US" dirty="0">
              <a:latin typeface="+mj-lt"/>
            </a:endParaRPr>
          </a:p>
          <a:p>
            <a:pPr marL="514350" indent="-285750">
              <a:buSzPct val="100000"/>
              <a:buFont typeface="Wingdings" panose="05000000000000000000" pitchFamily="2" charset="2"/>
              <a:buChar char="v"/>
            </a:pPr>
            <a:r>
              <a:rPr lang="en-US" dirty="0">
                <a:latin typeface="+mj-lt"/>
              </a:rPr>
              <a:t>ASPEN is a rapid assessment tool based on the concept that the benefit of a sensor (or constellation) to an application (or to NOAA mission) is measured by its ability to satisfy the application (or NOAA mission)’s requirements.</a:t>
            </a:r>
          </a:p>
          <a:p>
            <a:pPr marL="514350" indent="-285750">
              <a:buSzPct val="100000"/>
              <a:buFont typeface="Wingdings" panose="05000000000000000000" pitchFamily="2" charset="2"/>
              <a:buChar char="v"/>
            </a:pPr>
            <a:endParaRPr lang="en-US" dirty="0">
              <a:latin typeface="+mj-lt"/>
            </a:endParaRPr>
          </a:p>
          <a:p>
            <a:pPr marL="514350" indent="-285750">
              <a:buSzPct val="100000"/>
              <a:buFont typeface="Wingdings" panose="05000000000000000000" pitchFamily="2" charset="2"/>
              <a:buChar char="v"/>
            </a:pPr>
            <a:r>
              <a:rPr lang="en-US" dirty="0">
                <a:latin typeface="+mj-lt"/>
              </a:rPr>
              <a:t>ASPEN assessment also measures and compares the intrinsic geophysical capability of sensors/constellations</a:t>
            </a:r>
          </a:p>
          <a:p>
            <a:pPr marL="514350" indent="-285750">
              <a:buSzPct val="100000"/>
              <a:buFont typeface="Wingdings" panose="05000000000000000000" pitchFamily="2" charset="2"/>
              <a:buChar char="v"/>
            </a:pPr>
            <a:endParaRPr lang="en-US" dirty="0">
              <a:latin typeface="+mj-lt"/>
            </a:endParaRPr>
          </a:p>
          <a:p>
            <a:pPr marL="514350" indent="-285750">
              <a:buSzPct val="100000"/>
              <a:buFont typeface="Wingdings" panose="05000000000000000000" pitchFamily="2" charset="2"/>
              <a:buChar char="v"/>
            </a:pPr>
            <a:r>
              <a:rPr lang="en-US" dirty="0">
                <a:latin typeface="+mj-lt"/>
              </a:rPr>
              <a:t>ASPEN accounts for both technical and strategic aspects</a:t>
            </a:r>
          </a:p>
          <a:p>
            <a:pPr marL="514350" indent="-285750">
              <a:buSzPct val="100000"/>
              <a:buFont typeface="Wingdings" panose="05000000000000000000" pitchFamily="2" charset="2"/>
              <a:buChar char="v"/>
            </a:pPr>
            <a:endParaRPr lang="en-US" dirty="0">
              <a:latin typeface="+mj-lt"/>
            </a:endParaRPr>
          </a:p>
          <a:p>
            <a:pPr marL="514350" indent="-285750">
              <a:buSzPct val="100000"/>
              <a:buFont typeface="Wingdings" panose="05000000000000000000" pitchFamily="2" charset="2"/>
              <a:buChar char="v"/>
            </a:pPr>
            <a:r>
              <a:rPr lang="en-US" dirty="0">
                <a:latin typeface="+mj-lt"/>
              </a:rPr>
              <a:t>ASPEN accounts for both requirements and technical priorities of both sensors/constellations capabilities and attributes (resolutions, accuracy, </a:t>
            </a:r>
            <a:r>
              <a:rPr lang="en-US" dirty="0" err="1">
                <a:latin typeface="+mj-lt"/>
              </a:rPr>
              <a:t>etc</a:t>
            </a:r>
            <a:r>
              <a:rPr lang="en-US" dirty="0">
                <a:latin typeface="+mj-lt"/>
              </a:rPr>
              <a:t>)</a:t>
            </a:r>
          </a:p>
          <a:p>
            <a:pPr marL="514350" indent="-285750">
              <a:buSzPct val="100000"/>
              <a:buFont typeface="Wingdings" panose="05000000000000000000" pitchFamily="2" charset="2"/>
              <a:buChar char="v"/>
            </a:pPr>
            <a:endParaRPr lang="en-US" dirty="0">
              <a:latin typeface="+mj-lt"/>
            </a:endParaRPr>
          </a:p>
          <a:p>
            <a:pPr marL="514350" indent="-285750">
              <a:buSzPct val="100000"/>
              <a:buFont typeface="Wingdings" panose="05000000000000000000" pitchFamily="2" charset="2"/>
              <a:buChar char="v"/>
            </a:pPr>
            <a:r>
              <a:rPr lang="en-US" dirty="0">
                <a:latin typeface="+mj-lt"/>
              </a:rPr>
              <a:t>ASPEN capabilities have been demonstrated for constellation(s) assessment, sensor design optimization, platform payloads selection, BAA studies assessment, commercial data buy assessment, projection of future requirements, etc. </a:t>
            </a:r>
            <a:endParaRPr lang="en-US" sz="2400" dirty="0">
              <a:latin typeface="+mj-lt"/>
            </a:endParaRPr>
          </a:p>
          <a:p>
            <a:pPr marL="228600" indent="0">
              <a:buSzPct val="100000"/>
            </a:pPr>
            <a:endParaRPr lang="en-US" dirty="0"/>
          </a:p>
          <a:p>
            <a:pPr marL="514350" indent="-285750">
              <a:buFontTx/>
              <a:buChar char="-"/>
            </a:pPr>
            <a:endParaRPr lang="en-US" dirty="0"/>
          </a:p>
          <a:p>
            <a:pPr marL="514350" indent="-285750">
              <a:buFontTx/>
              <a:buChar char="-"/>
            </a:pPr>
            <a:endParaRPr lang="en-US" dirty="0"/>
          </a:p>
          <a:p>
            <a:pPr marL="514350" indent="-285750">
              <a:buFontTx/>
              <a:buChar char="-"/>
            </a:pPr>
            <a:endParaRPr lang="en-US" dirty="0"/>
          </a:p>
          <a:p>
            <a:pPr marL="514350" indent="-285750">
              <a:buFontTx/>
              <a:buChar char="-"/>
            </a:pPr>
            <a:endParaRPr lang="en-US" dirty="0"/>
          </a:p>
          <a:p>
            <a:pPr marL="514350" indent="-285750">
              <a:buFontTx/>
              <a:buChar char="-"/>
            </a:pPr>
            <a:endParaRPr lang="en-US" dirty="0"/>
          </a:p>
          <a:p>
            <a:pPr marL="514350" indent="-285750">
              <a:buFontTx/>
              <a:buChar char="-"/>
            </a:pPr>
            <a:endParaRPr lang="en-US" dirty="0"/>
          </a:p>
          <a:p>
            <a:pPr marL="514350" indent="-285750">
              <a:buFontTx/>
              <a:buChar char="-"/>
            </a:pPr>
            <a:endParaRPr lang="en-US" dirty="0"/>
          </a:p>
        </p:txBody>
      </p:sp>
      <p:sp>
        <p:nvSpPr>
          <p:cNvPr id="6" name="Slide Number Placeholder 3"/>
          <p:cNvSpPr txBox="1">
            <a:spLocks/>
          </p:cNvSpPr>
          <p:nvPr/>
        </p:nvSpPr>
        <p:spPr>
          <a:xfrm>
            <a:off x="6600886" y="6415677"/>
            <a:ext cx="2103120" cy="34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tx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B6F15528-21DE-4FAA-801E-634DDDAF4B2B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77656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Backup Slid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02E9C84-E806-4BCB-9177-5DCB69DAE732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8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63642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PEN Templat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02E9C84-E806-4BCB-9177-5DCB69DAE732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9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721" r="4891" b="5240"/>
          <a:stretch/>
        </p:blipFill>
        <p:spPr>
          <a:xfrm>
            <a:off x="244494" y="1114104"/>
            <a:ext cx="8899506" cy="5023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77777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I8ikCbRM6swtQIOQoY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QV4F04bk.QP9DmRY.hvA"/>
</p:tagLst>
</file>

<file path=ppt/theme/theme1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8535</TotalTime>
  <Words>2247</Words>
  <Application>Microsoft Office PowerPoint</Application>
  <PresentationFormat>On-screen Show (4:3)</PresentationFormat>
  <Paragraphs>710</Paragraphs>
  <Slides>1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4" baseType="lpstr">
      <vt:lpstr>Candara</vt:lpstr>
      <vt:lpstr>Arial</vt:lpstr>
      <vt:lpstr>Calibri</vt:lpstr>
      <vt:lpstr>ＭＳ Ｐゴシック</vt:lpstr>
      <vt:lpstr>Wingdings</vt:lpstr>
      <vt:lpstr>Office Theme</vt:lpstr>
      <vt:lpstr>think-cell Slide</vt:lpstr>
      <vt:lpstr>PowerPoint Presentation</vt:lpstr>
      <vt:lpstr>What is ASPEN?</vt:lpstr>
      <vt:lpstr>ASPEN methodology</vt:lpstr>
      <vt:lpstr>ASPEN Example: Mission Sensor/Constellation Based Benefit</vt:lpstr>
      <vt:lpstr>Constellations Assessment: Case of 17 Constellations (CONUS Views), Assessed against 5 apps rolled up to NOAA mission</vt:lpstr>
      <vt:lpstr>Plans for the Future</vt:lpstr>
      <vt:lpstr>Conclusions</vt:lpstr>
      <vt:lpstr>Backup Slides</vt:lpstr>
      <vt:lpstr>ASPEN Template</vt:lpstr>
      <vt:lpstr>Sample Sensor/Constellation-based Performances (SCP) Table</vt:lpstr>
      <vt:lpstr>Sample Application-dependent Requirements Ranges (ARR) Table</vt:lpstr>
      <vt:lpstr>ASPEN Variables - Atmosphere</vt:lpstr>
      <vt:lpstr>ASPEN Variables – Biosphere and Cryosphere</vt:lpstr>
      <vt:lpstr>ASPEN Variables – Hydrosphere and Ocean</vt:lpstr>
      <vt:lpstr>ASPEN Applications – Earth System, Land/Hydrology, and Space Weather</vt:lpstr>
      <vt:lpstr>ASPEN Applications – Meteorology</vt:lpstr>
      <vt:lpstr>ASPEN Applications - Oceanograph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R Transformation: Future Architecture</dc:title>
  <dc:creator>Erika Brown</dc:creator>
  <cp:lastModifiedBy>Stacy Bunin</cp:lastModifiedBy>
  <cp:revision>109</cp:revision>
  <dcterms:modified xsi:type="dcterms:W3CDTF">2021-04-12T13:05:00Z</dcterms:modified>
</cp:coreProperties>
</file>